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4"/>
  </p:sldMasterIdLst>
  <p:notesMasterIdLst>
    <p:notesMasterId r:id="rId14"/>
  </p:notesMasterIdLst>
  <p:sldIdLst>
    <p:sldId id="275" r:id="rId5"/>
    <p:sldId id="276" r:id="rId6"/>
    <p:sldId id="301" r:id="rId7"/>
    <p:sldId id="304" r:id="rId8"/>
    <p:sldId id="305" r:id="rId9"/>
    <p:sldId id="284" r:id="rId10"/>
    <p:sldId id="306" r:id="rId11"/>
    <p:sldId id="263" r:id="rId12"/>
    <p:sldId id="274" r:id="rId13"/>
  </p:sldIdLst>
  <p:sldSz cx="9144000" cy="6858000" type="screen4x3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5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D3AB542-5F1A-4469-B09B-E04BDF889B36}" v="27" dt="2019-12-18T18:05:47.734"/>
  </p1510:revLst>
</p1510:revInfo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preferSingleView="1">
    <p:restoredLeft sz="16544" autoAdjust="0"/>
    <p:restoredTop sz="94660"/>
  </p:normalViewPr>
  <p:slideViewPr>
    <p:cSldViewPr>
      <p:cViewPr varScale="1">
        <p:scale>
          <a:sx n="81" d="100"/>
          <a:sy n="81" d="100"/>
        </p:scale>
        <p:origin x="1230" y="90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40" d="100"/>
        <a:sy n="14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liana Falcao - LCA Viagens e Eventos" userId="895038b3-d49a-4ce1-8a3a-b892401ea7cc" providerId="ADAL" clId="{4FCD8015-0328-482F-A946-944BCFB4CD41}"/>
    <pc:docChg chg="custSel addSld delSld modSld">
      <pc:chgData name="Juliana Falcao - LCA Viagens e Eventos" userId="895038b3-d49a-4ce1-8a3a-b892401ea7cc" providerId="ADAL" clId="{4FCD8015-0328-482F-A946-944BCFB4CD41}" dt="2019-12-18T18:06:09.108" v="203" actId="1037"/>
      <pc:docMkLst>
        <pc:docMk/>
      </pc:docMkLst>
      <pc:sldChg chg="addSp delSp modSp">
        <pc:chgData name="Juliana Falcao - LCA Viagens e Eventos" userId="895038b3-d49a-4ce1-8a3a-b892401ea7cc" providerId="ADAL" clId="{4FCD8015-0328-482F-A946-944BCFB4CD41}" dt="2019-12-18T17:40:35.298" v="84" actId="20577"/>
        <pc:sldMkLst>
          <pc:docMk/>
          <pc:sldMk cId="249441199" sldId="263"/>
        </pc:sldMkLst>
        <pc:graphicFrameChg chg="add mod">
          <ac:chgData name="Juliana Falcao - LCA Viagens e Eventos" userId="895038b3-d49a-4ce1-8a3a-b892401ea7cc" providerId="ADAL" clId="{4FCD8015-0328-482F-A946-944BCFB4CD41}" dt="2019-12-18T17:40:13.925" v="69" actId="1076"/>
          <ac:graphicFrameMkLst>
            <pc:docMk/>
            <pc:sldMk cId="249441199" sldId="263"/>
            <ac:graphicFrameMk id="5" creationId="{E0884E79-6511-4F3C-B154-241B679707FF}"/>
          </ac:graphicFrameMkLst>
        </pc:graphicFrameChg>
        <pc:graphicFrameChg chg="del">
          <ac:chgData name="Juliana Falcao - LCA Viagens e Eventos" userId="895038b3-d49a-4ce1-8a3a-b892401ea7cc" providerId="ADAL" clId="{4FCD8015-0328-482F-A946-944BCFB4CD41}" dt="2019-12-18T17:38:27.195" v="55" actId="478"/>
          <ac:graphicFrameMkLst>
            <pc:docMk/>
            <pc:sldMk cId="249441199" sldId="263"/>
            <ac:graphicFrameMk id="9" creationId="{4D2DD6AA-1C06-49D4-9EEE-4F8938BC6702}"/>
          </ac:graphicFrameMkLst>
        </pc:graphicFrameChg>
        <pc:graphicFrameChg chg="modGraphic">
          <ac:chgData name="Juliana Falcao - LCA Viagens e Eventos" userId="895038b3-d49a-4ce1-8a3a-b892401ea7cc" providerId="ADAL" clId="{4FCD8015-0328-482F-A946-944BCFB4CD41}" dt="2019-12-18T17:40:35.298" v="84" actId="20577"/>
          <ac:graphicFrameMkLst>
            <pc:docMk/>
            <pc:sldMk cId="249441199" sldId="263"/>
            <ac:graphicFrameMk id="19" creationId="{00000000-0000-0000-0000-000000000000}"/>
          </ac:graphicFrameMkLst>
        </pc:graphicFrameChg>
        <pc:picChg chg="add mod">
          <ac:chgData name="Juliana Falcao - LCA Viagens e Eventos" userId="895038b3-d49a-4ce1-8a3a-b892401ea7cc" providerId="ADAL" clId="{4FCD8015-0328-482F-A946-944BCFB4CD41}" dt="2019-12-18T17:39:37.487" v="57" actId="14100"/>
          <ac:picMkLst>
            <pc:docMk/>
            <pc:sldMk cId="249441199" sldId="263"/>
            <ac:picMk id="4" creationId="{9F404BBF-8688-4395-AB88-C8387A20B6E1}"/>
          </ac:picMkLst>
        </pc:picChg>
        <pc:picChg chg="del">
          <ac:chgData name="Juliana Falcao - LCA Viagens e Eventos" userId="895038b3-d49a-4ce1-8a3a-b892401ea7cc" providerId="ADAL" clId="{4FCD8015-0328-482F-A946-944BCFB4CD41}" dt="2019-12-18T17:38:25.907" v="54" actId="478"/>
          <ac:picMkLst>
            <pc:docMk/>
            <pc:sldMk cId="249441199" sldId="263"/>
            <ac:picMk id="8" creationId="{62D1D0DD-BC23-4E64-A2B6-BFC6FDF100C5}"/>
          </ac:picMkLst>
        </pc:picChg>
      </pc:sldChg>
      <pc:sldChg chg="addSp delSp modSp">
        <pc:chgData name="Juliana Falcao - LCA Viagens e Eventos" userId="895038b3-d49a-4ce1-8a3a-b892401ea7cc" providerId="ADAL" clId="{4FCD8015-0328-482F-A946-944BCFB4CD41}" dt="2019-12-18T17:38:13.486" v="53" actId="14100"/>
        <pc:sldMkLst>
          <pc:docMk/>
          <pc:sldMk cId="4161381584" sldId="274"/>
        </pc:sldMkLst>
        <pc:graphicFrameChg chg="add mod">
          <ac:chgData name="Juliana Falcao - LCA Viagens e Eventos" userId="895038b3-d49a-4ce1-8a3a-b892401ea7cc" providerId="ADAL" clId="{4FCD8015-0328-482F-A946-944BCFB4CD41}" dt="2019-12-18T17:36:14.136" v="40" actId="1076"/>
          <ac:graphicFrameMkLst>
            <pc:docMk/>
            <pc:sldMk cId="4161381584" sldId="274"/>
            <ac:graphicFrameMk id="7" creationId="{9A7BC91A-E1E5-45FF-9CED-B38ADE40DDE9}"/>
          </ac:graphicFrameMkLst>
        </pc:graphicFrameChg>
        <pc:graphicFrameChg chg="add mod">
          <ac:chgData name="Juliana Falcao - LCA Viagens e Eventos" userId="895038b3-d49a-4ce1-8a3a-b892401ea7cc" providerId="ADAL" clId="{4FCD8015-0328-482F-A946-944BCFB4CD41}" dt="2019-12-18T17:38:13.486" v="53" actId="14100"/>
          <ac:graphicFrameMkLst>
            <pc:docMk/>
            <pc:sldMk cId="4161381584" sldId="274"/>
            <ac:graphicFrameMk id="10" creationId="{1E038C70-E146-4312-96F8-E659DB289A18}"/>
          </ac:graphicFrameMkLst>
        </pc:graphicFrameChg>
        <pc:graphicFrameChg chg="del">
          <ac:chgData name="Juliana Falcao - LCA Viagens e Eventos" userId="895038b3-d49a-4ce1-8a3a-b892401ea7cc" providerId="ADAL" clId="{4FCD8015-0328-482F-A946-944BCFB4CD41}" dt="2019-12-18T17:32:06.468" v="38" actId="478"/>
          <ac:graphicFrameMkLst>
            <pc:docMk/>
            <pc:sldMk cId="4161381584" sldId="274"/>
            <ac:graphicFrameMk id="18" creationId="{F80F553A-530C-4593-82D8-4E89F6CF47BB}"/>
          </ac:graphicFrameMkLst>
        </pc:graphicFrameChg>
        <pc:graphicFrameChg chg="del">
          <ac:chgData name="Juliana Falcao - LCA Viagens e Eventos" userId="895038b3-d49a-4ce1-8a3a-b892401ea7cc" providerId="ADAL" clId="{4FCD8015-0328-482F-A946-944BCFB4CD41}" dt="2019-12-18T17:36:18.478" v="43" actId="478"/>
          <ac:graphicFrameMkLst>
            <pc:docMk/>
            <pc:sldMk cId="4161381584" sldId="274"/>
            <ac:graphicFrameMk id="22" creationId="{BC494ACB-9B4B-42F0-BF1C-1777019DF5DF}"/>
          </ac:graphicFrameMkLst>
        </pc:graphicFrameChg>
        <pc:picChg chg="add mod">
          <ac:chgData name="Juliana Falcao - LCA Viagens e Eventos" userId="895038b3-d49a-4ce1-8a3a-b892401ea7cc" providerId="ADAL" clId="{4FCD8015-0328-482F-A946-944BCFB4CD41}" dt="2019-12-18T17:32:02.744" v="37" actId="1440"/>
          <ac:picMkLst>
            <pc:docMk/>
            <pc:sldMk cId="4161381584" sldId="274"/>
            <ac:picMk id="4" creationId="{FDFFB9AE-D4DB-4117-AEE1-A5B64E5F7269}"/>
          </ac:picMkLst>
        </pc:picChg>
        <pc:picChg chg="add mod">
          <ac:chgData name="Juliana Falcao - LCA Viagens e Eventos" userId="895038b3-d49a-4ce1-8a3a-b892401ea7cc" providerId="ADAL" clId="{4FCD8015-0328-482F-A946-944BCFB4CD41}" dt="2019-12-18T17:37:15.828" v="46" actId="1076"/>
          <ac:picMkLst>
            <pc:docMk/>
            <pc:sldMk cId="4161381584" sldId="274"/>
            <ac:picMk id="8" creationId="{A9D229C0-7F61-4490-9605-DE7F85C230F4}"/>
          </ac:picMkLst>
        </pc:picChg>
        <pc:picChg chg="add mod">
          <ac:chgData name="Juliana Falcao - LCA Viagens e Eventos" userId="895038b3-d49a-4ce1-8a3a-b892401ea7cc" providerId="ADAL" clId="{4FCD8015-0328-482F-A946-944BCFB4CD41}" dt="2019-12-18T17:37:35.144" v="50" actId="14100"/>
          <ac:picMkLst>
            <pc:docMk/>
            <pc:sldMk cId="4161381584" sldId="274"/>
            <ac:picMk id="9" creationId="{75F04AC4-8A09-4C16-B3FF-66C8DA33EC15}"/>
          </ac:picMkLst>
        </pc:picChg>
        <pc:picChg chg="del">
          <ac:chgData name="Juliana Falcao - LCA Viagens e Eventos" userId="895038b3-d49a-4ce1-8a3a-b892401ea7cc" providerId="ADAL" clId="{4FCD8015-0328-482F-A946-944BCFB4CD41}" dt="2019-12-18T17:31:51.073" v="33" actId="478"/>
          <ac:picMkLst>
            <pc:docMk/>
            <pc:sldMk cId="4161381584" sldId="274"/>
            <ac:picMk id="16" creationId="{9C2B43F7-347A-4C78-BD21-6914D412BC19}"/>
          </ac:picMkLst>
        </pc:picChg>
        <pc:picChg chg="del">
          <ac:chgData name="Juliana Falcao - LCA Viagens e Eventos" userId="895038b3-d49a-4ce1-8a3a-b892401ea7cc" providerId="ADAL" clId="{4FCD8015-0328-482F-A946-944BCFB4CD41}" dt="2019-12-18T17:36:16.457" v="41" actId="478"/>
          <ac:picMkLst>
            <pc:docMk/>
            <pc:sldMk cId="4161381584" sldId="274"/>
            <ac:picMk id="19" creationId="{191A984D-5240-495E-87D3-04F01B092700}"/>
          </ac:picMkLst>
        </pc:picChg>
        <pc:picChg chg="del">
          <ac:chgData name="Juliana Falcao - LCA Viagens e Eventos" userId="895038b3-d49a-4ce1-8a3a-b892401ea7cc" providerId="ADAL" clId="{4FCD8015-0328-482F-A946-944BCFB4CD41}" dt="2019-12-18T17:36:17.497" v="42" actId="478"/>
          <ac:picMkLst>
            <pc:docMk/>
            <pc:sldMk cId="4161381584" sldId="274"/>
            <ac:picMk id="21" creationId="{6E309DB0-A907-4FEB-8E54-5D566E6E785A}"/>
          </ac:picMkLst>
        </pc:picChg>
      </pc:sldChg>
      <pc:sldChg chg="modSp">
        <pc:chgData name="Juliana Falcao - LCA Viagens e Eventos" userId="895038b3-d49a-4ce1-8a3a-b892401ea7cc" providerId="ADAL" clId="{4FCD8015-0328-482F-A946-944BCFB4CD41}" dt="2019-12-18T17:23:55.811" v="31" actId="20577"/>
        <pc:sldMkLst>
          <pc:docMk/>
          <pc:sldMk cId="1839996853" sldId="275"/>
        </pc:sldMkLst>
        <pc:graphicFrameChg chg="mod modGraphic">
          <ac:chgData name="Juliana Falcao - LCA Viagens e Eventos" userId="895038b3-d49a-4ce1-8a3a-b892401ea7cc" providerId="ADAL" clId="{4FCD8015-0328-482F-A946-944BCFB4CD41}" dt="2019-12-18T17:23:55.811" v="31" actId="20577"/>
          <ac:graphicFrameMkLst>
            <pc:docMk/>
            <pc:sldMk cId="1839996853" sldId="275"/>
            <ac:graphicFrameMk id="10" creationId="{DD495E6C-3A6B-43E4-AF9E-BACC8C8FDAB0}"/>
          </ac:graphicFrameMkLst>
        </pc:graphicFrameChg>
      </pc:sldChg>
      <pc:sldChg chg="addSp delSp modSp">
        <pc:chgData name="Juliana Falcao - LCA Viagens e Eventos" userId="895038b3-d49a-4ce1-8a3a-b892401ea7cc" providerId="ADAL" clId="{4FCD8015-0328-482F-A946-944BCFB4CD41}" dt="2019-12-18T17:52:12.293" v="107" actId="1076"/>
        <pc:sldMkLst>
          <pc:docMk/>
          <pc:sldMk cId="3576085387" sldId="276"/>
        </pc:sldMkLst>
        <pc:graphicFrameChg chg="del">
          <ac:chgData name="Juliana Falcao - LCA Viagens e Eventos" userId="895038b3-d49a-4ce1-8a3a-b892401ea7cc" providerId="ADAL" clId="{4FCD8015-0328-482F-A946-944BCFB4CD41}" dt="2019-12-18T17:41:26.956" v="92" actId="478"/>
          <ac:graphicFrameMkLst>
            <pc:docMk/>
            <pc:sldMk cId="3576085387" sldId="276"/>
            <ac:graphicFrameMk id="6" creationId="{5FD66CFC-4A93-4E2C-A8C5-52187C258193}"/>
          </ac:graphicFrameMkLst>
        </pc:graphicFrameChg>
        <pc:graphicFrameChg chg="add mod">
          <ac:chgData name="Juliana Falcao - LCA Viagens e Eventos" userId="895038b3-d49a-4ce1-8a3a-b892401ea7cc" providerId="ADAL" clId="{4FCD8015-0328-482F-A946-944BCFB4CD41}" dt="2019-12-18T17:43:48.845" v="103" actId="1076"/>
          <ac:graphicFrameMkLst>
            <pc:docMk/>
            <pc:sldMk cId="3576085387" sldId="276"/>
            <ac:graphicFrameMk id="10" creationId="{23790946-C289-4600-BF87-0C464B89301A}"/>
          </ac:graphicFrameMkLst>
        </pc:graphicFrameChg>
        <pc:graphicFrameChg chg="add mod modGraphic">
          <ac:chgData name="Juliana Falcao - LCA Viagens e Eventos" userId="895038b3-d49a-4ce1-8a3a-b892401ea7cc" providerId="ADAL" clId="{4FCD8015-0328-482F-A946-944BCFB4CD41}" dt="2019-12-18T17:43:38.738" v="102" actId="14100"/>
          <ac:graphicFrameMkLst>
            <pc:docMk/>
            <pc:sldMk cId="3576085387" sldId="276"/>
            <ac:graphicFrameMk id="11" creationId="{CAC2E0F2-70D6-433D-B1CA-85D459A18306}"/>
          </ac:graphicFrameMkLst>
        </pc:graphicFrameChg>
        <pc:graphicFrameChg chg="del">
          <ac:chgData name="Juliana Falcao - LCA Viagens e Eventos" userId="895038b3-d49a-4ce1-8a3a-b892401ea7cc" providerId="ADAL" clId="{4FCD8015-0328-482F-A946-944BCFB4CD41}" dt="2019-12-18T17:42:48.909" v="99" actId="478"/>
          <ac:graphicFrameMkLst>
            <pc:docMk/>
            <pc:sldMk cId="3576085387" sldId="276"/>
            <ac:graphicFrameMk id="14" creationId="{2819FC1C-5226-4ACA-AFDA-6FB98A296B94}"/>
          </ac:graphicFrameMkLst>
        </pc:graphicFrameChg>
        <pc:graphicFrameChg chg="add mod">
          <ac:chgData name="Juliana Falcao - LCA Viagens e Eventos" userId="895038b3-d49a-4ce1-8a3a-b892401ea7cc" providerId="ADAL" clId="{4FCD8015-0328-482F-A946-944BCFB4CD41}" dt="2019-12-18T17:52:12.293" v="107" actId="1076"/>
          <ac:graphicFrameMkLst>
            <pc:docMk/>
            <pc:sldMk cId="3576085387" sldId="276"/>
            <ac:graphicFrameMk id="15" creationId="{79ED48E2-68D1-4A2B-A503-80F6DB11FF1F}"/>
          </ac:graphicFrameMkLst>
        </pc:graphicFrameChg>
        <pc:picChg chg="del">
          <ac:chgData name="Juliana Falcao - LCA Viagens e Eventos" userId="895038b3-d49a-4ce1-8a3a-b892401ea7cc" providerId="ADAL" clId="{4FCD8015-0328-482F-A946-944BCFB4CD41}" dt="2019-12-18T17:31:14.722" v="32" actId="478"/>
          <ac:picMkLst>
            <pc:docMk/>
            <pc:sldMk cId="3576085387" sldId="276"/>
            <ac:picMk id="5" creationId="{C373730D-A5BC-4DB8-A8B2-55034C6FAF82}"/>
          </ac:picMkLst>
        </pc:picChg>
        <pc:picChg chg="add mod">
          <ac:chgData name="Juliana Falcao - LCA Viagens e Eventos" userId="895038b3-d49a-4ce1-8a3a-b892401ea7cc" providerId="ADAL" clId="{4FCD8015-0328-482F-A946-944BCFB4CD41}" dt="2019-12-18T17:41:29.696" v="94" actId="1037"/>
          <ac:picMkLst>
            <pc:docMk/>
            <pc:sldMk cId="3576085387" sldId="276"/>
            <ac:picMk id="8" creationId="{1060E071-F018-491A-A53B-D4AF4B42E770}"/>
          </ac:picMkLst>
        </pc:picChg>
      </pc:sldChg>
      <pc:sldChg chg="del">
        <pc:chgData name="Juliana Falcao - LCA Viagens e Eventos" userId="895038b3-d49a-4ce1-8a3a-b892401ea7cc" providerId="ADAL" clId="{4FCD8015-0328-482F-A946-944BCFB4CD41}" dt="2019-12-18T17:52:33.341" v="110" actId="2696"/>
        <pc:sldMkLst>
          <pc:docMk/>
          <pc:sldMk cId="294068543" sldId="277"/>
        </pc:sldMkLst>
      </pc:sldChg>
      <pc:sldChg chg="addSp delSp modSp">
        <pc:chgData name="Juliana Falcao - LCA Viagens e Eventos" userId="895038b3-d49a-4ce1-8a3a-b892401ea7cc" providerId="ADAL" clId="{4FCD8015-0328-482F-A946-944BCFB4CD41}" dt="2019-12-18T18:04:14.490" v="181" actId="1076"/>
        <pc:sldMkLst>
          <pc:docMk/>
          <pc:sldMk cId="3067722931" sldId="284"/>
        </pc:sldMkLst>
        <pc:picChg chg="del">
          <ac:chgData name="Juliana Falcao - LCA Viagens e Eventos" userId="895038b3-d49a-4ce1-8a3a-b892401ea7cc" providerId="ADAL" clId="{4FCD8015-0328-482F-A946-944BCFB4CD41}" dt="2019-12-18T18:03:50.175" v="176" actId="478"/>
          <ac:picMkLst>
            <pc:docMk/>
            <pc:sldMk cId="3067722931" sldId="284"/>
            <ac:picMk id="5" creationId="{76DBDE6C-D17A-4A08-B51A-BF338AC23995}"/>
          </ac:picMkLst>
        </pc:picChg>
        <pc:picChg chg="add mod">
          <ac:chgData name="Juliana Falcao - LCA Viagens e Eventos" userId="895038b3-d49a-4ce1-8a3a-b892401ea7cc" providerId="ADAL" clId="{4FCD8015-0328-482F-A946-944BCFB4CD41}" dt="2019-12-18T18:04:14.490" v="181" actId="1076"/>
          <ac:picMkLst>
            <pc:docMk/>
            <pc:sldMk cId="3067722931" sldId="284"/>
            <ac:picMk id="7" creationId="{2537BCE3-4697-4C4C-8A2A-62CF18B1344F}"/>
          </ac:picMkLst>
        </pc:picChg>
      </pc:sldChg>
      <pc:sldChg chg="del">
        <pc:chgData name="Juliana Falcao - LCA Viagens e Eventos" userId="895038b3-d49a-4ce1-8a3a-b892401ea7cc" providerId="ADAL" clId="{4FCD8015-0328-482F-A946-944BCFB4CD41}" dt="2019-12-18T17:52:50.063" v="114" actId="2696"/>
        <pc:sldMkLst>
          <pc:docMk/>
          <pc:sldMk cId="3476377253" sldId="285"/>
        </pc:sldMkLst>
      </pc:sldChg>
      <pc:sldChg chg="del">
        <pc:chgData name="Juliana Falcao - LCA Viagens e Eventos" userId="895038b3-d49a-4ce1-8a3a-b892401ea7cc" providerId="ADAL" clId="{4FCD8015-0328-482F-A946-944BCFB4CD41}" dt="2019-12-18T17:52:29.584" v="109" actId="2696"/>
        <pc:sldMkLst>
          <pc:docMk/>
          <pc:sldMk cId="1652711759" sldId="296"/>
        </pc:sldMkLst>
      </pc:sldChg>
      <pc:sldChg chg="del">
        <pc:chgData name="Juliana Falcao - LCA Viagens e Eventos" userId="895038b3-d49a-4ce1-8a3a-b892401ea7cc" providerId="ADAL" clId="{4FCD8015-0328-482F-A946-944BCFB4CD41}" dt="2019-12-18T17:52:26.561" v="108" actId="2696"/>
        <pc:sldMkLst>
          <pc:docMk/>
          <pc:sldMk cId="581579702" sldId="297"/>
        </pc:sldMkLst>
      </pc:sldChg>
      <pc:sldChg chg="del">
        <pc:chgData name="Juliana Falcao - LCA Viagens e Eventos" userId="895038b3-d49a-4ce1-8a3a-b892401ea7cc" providerId="ADAL" clId="{4FCD8015-0328-482F-A946-944BCFB4CD41}" dt="2019-12-18T17:52:36.217" v="111" actId="2696"/>
        <pc:sldMkLst>
          <pc:docMk/>
          <pc:sldMk cId="1541764029" sldId="299"/>
        </pc:sldMkLst>
      </pc:sldChg>
      <pc:sldChg chg="addSp delSp modSp">
        <pc:chgData name="Juliana Falcao - LCA Viagens e Eventos" userId="895038b3-d49a-4ce1-8a3a-b892401ea7cc" providerId="ADAL" clId="{4FCD8015-0328-482F-A946-944BCFB4CD41}" dt="2019-12-18T17:57:31.028" v="146" actId="1035"/>
        <pc:sldMkLst>
          <pc:docMk/>
          <pc:sldMk cId="1688025310" sldId="301"/>
        </pc:sldMkLst>
        <pc:spChg chg="mod">
          <ac:chgData name="Juliana Falcao - LCA Viagens e Eventos" userId="895038b3-d49a-4ce1-8a3a-b892401ea7cc" providerId="ADAL" clId="{4FCD8015-0328-482F-A946-944BCFB4CD41}" dt="2019-12-18T17:57:31.028" v="146" actId="1035"/>
          <ac:spMkLst>
            <pc:docMk/>
            <pc:sldMk cId="1688025310" sldId="301"/>
            <ac:spMk id="11" creationId="{2554220A-A36D-4D7C-BFE5-7F2412606861}"/>
          </ac:spMkLst>
        </pc:spChg>
        <pc:picChg chg="del">
          <ac:chgData name="Juliana Falcao - LCA Viagens e Eventos" userId="895038b3-d49a-4ce1-8a3a-b892401ea7cc" providerId="ADAL" clId="{4FCD8015-0328-482F-A946-944BCFB4CD41}" dt="2019-12-18T17:53:07.535" v="131" actId="478"/>
          <ac:picMkLst>
            <pc:docMk/>
            <pc:sldMk cId="1688025310" sldId="301"/>
            <ac:picMk id="6" creationId="{7AFF70AF-A9FA-422C-A2C8-8AB1735C1E15}"/>
          </ac:picMkLst>
        </pc:picChg>
        <pc:picChg chg="add mod">
          <ac:chgData name="Juliana Falcao - LCA Viagens e Eventos" userId="895038b3-d49a-4ce1-8a3a-b892401ea7cc" providerId="ADAL" clId="{4FCD8015-0328-482F-A946-944BCFB4CD41}" dt="2019-12-18T17:53:28.884" v="136" actId="962"/>
          <ac:picMkLst>
            <pc:docMk/>
            <pc:sldMk cId="1688025310" sldId="301"/>
            <ac:picMk id="7" creationId="{DCEE071B-2D9C-42BC-B1A1-4D0E8256F5F9}"/>
          </ac:picMkLst>
        </pc:picChg>
        <pc:picChg chg="add mod modCrop">
          <ac:chgData name="Juliana Falcao - LCA Viagens e Eventos" userId="895038b3-d49a-4ce1-8a3a-b892401ea7cc" providerId="ADAL" clId="{4FCD8015-0328-482F-A946-944BCFB4CD41}" dt="2019-12-18T17:56:59.227" v="143" actId="1076"/>
          <ac:picMkLst>
            <pc:docMk/>
            <pc:sldMk cId="1688025310" sldId="301"/>
            <ac:picMk id="8" creationId="{3CFFDB0F-6B2B-4054-938D-C00207FF28C4}"/>
          </ac:picMkLst>
        </pc:picChg>
        <pc:picChg chg="del">
          <ac:chgData name="Juliana Falcao - LCA Viagens e Eventos" userId="895038b3-d49a-4ce1-8a3a-b892401ea7cc" providerId="ADAL" clId="{4FCD8015-0328-482F-A946-944BCFB4CD41}" dt="2019-12-18T17:53:05.645" v="130" actId="478"/>
          <ac:picMkLst>
            <pc:docMk/>
            <pc:sldMk cId="1688025310" sldId="301"/>
            <ac:picMk id="12" creationId="{501B522C-78D5-4E2E-AB04-FE57B3830912}"/>
          </ac:picMkLst>
        </pc:picChg>
      </pc:sldChg>
      <pc:sldChg chg="del">
        <pc:chgData name="Juliana Falcao - LCA Viagens e Eventos" userId="895038b3-d49a-4ce1-8a3a-b892401ea7cc" providerId="ADAL" clId="{4FCD8015-0328-482F-A946-944BCFB4CD41}" dt="2019-12-18T17:52:40.513" v="112" actId="2696"/>
        <pc:sldMkLst>
          <pc:docMk/>
          <pc:sldMk cId="4125115751" sldId="302"/>
        </pc:sldMkLst>
      </pc:sldChg>
      <pc:sldChg chg="del">
        <pc:chgData name="Juliana Falcao - LCA Viagens e Eventos" userId="895038b3-d49a-4ce1-8a3a-b892401ea7cc" providerId="ADAL" clId="{4FCD8015-0328-482F-A946-944BCFB4CD41}" dt="2019-12-18T17:52:44.679" v="113" actId="2696"/>
        <pc:sldMkLst>
          <pc:docMk/>
          <pc:sldMk cId="1101775304" sldId="303"/>
        </pc:sldMkLst>
      </pc:sldChg>
      <pc:sldChg chg="addSp delSp modSp">
        <pc:chgData name="Juliana Falcao - LCA Viagens e Eventos" userId="895038b3-d49a-4ce1-8a3a-b892401ea7cc" providerId="ADAL" clId="{4FCD8015-0328-482F-A946-944BCFB4CD41}" dt="2019-12-18T18:03:37.757" v="174" actId="1037"/>
        <pc:sldMkLst>
          <pc:docMk/>
          <pc:sldMk cId="46483538" sldId="304"/>
        </pc:sldMkLst>
        <pc:spChg chg="mod">
          <ac:chgData name="Juliana Falcao - LCA Viagens e Eventos" userId="895038b3-d49a-4ce1-8a3a-b892401ea7cc" providerId="ADAL" clId="{4FCD8015-0328-482F-A946-944BCFB4CD41}" dt="2019-12-18T17:57:38.146" v="149" actId="1035"/>
          <ac:spMkLst>
            <pc:docMk/>
            <pc:sldMk cId="46483538" sldId="304"/>
            <ac:spMk id="11" creationId="{2554220A-A36D-4D7C-BFE5-7F2412606861}"/>
          </ac:spMkLst>
        </pc:spChg>
        <pc:picChg chg="add mod">
          <ac:chgData name="Juliana Falcao - LCA Viagens e Eventos" userId="895038b3-d49a-4ce1-8a3a-b892401ea7cc" providerId="ADAL" clId="{4FCD8015-0328-482F-A946-944BCFB4CD41}" dt="2019-12-18T18:03:37.757" v="174" actId="1037"/>
          <ac:picMkLst>
            <pc:docMk/>
            <pc:sldMk cId="46483538" sldId="304"/>
            <ac:picMk id="6" creationId="{A126637E-1297-4968-9954-FF067F0B2235}"/>
          </ac:picMkLst>
        </pc:picChg>
        <pc:picChg chg="del">
          <ac:chgData name="Juliana Falcao - LCA Viagens e Eventos" userId="895038b3-d49a-4ce1-8a3a-b892401ea7cc" providerId="ADAL" clId="{4FCD8015-0328-482F-A946-944BCFB4CD41}" dt="2019-12-18T17:58:27.975" v="150" actId="478"/>
          <ac:picMkLst>
            <pc:docMk/>
            <pc:sldMk cId="46483538" sldId="304"/>
            <ac:picMk id="7" creationId="{5084ED4E-B315-42A8-BEC1-D792729D5C41}"/>
          </ac:picMkLst>
        </pc:picChg>
        <pc:picChg chg="del">
          <ac:chgData name="Juliana Falcao - LCA Viagens e Eventos" userId="895038b3-d49a-4ce1-8a3a-b892401ea7cc" providerId="ADAL" clId="{4FCD8015-0328-482F-A946-944BCFB4CD41}" dt="2019-12-18T17:58:38.850" v="156" actId="478"/>
          <ac:picMkLst>
            <pc:docMk/>
            <pc:sldMk cId="46483538" sldId="304"/>
            <ac:picMk id="10" creationId="{F5F62C46-7A61-43C5-B68A-D127A8C8ECA1}"/>
          </ac:picMkLst>
        </pc:picChg>
        <pc:picChg chg="add mod modCrop">
          <ac:chgData name="Juliana Falcao - LCA Viagens e Eventos" userId="895038b3-d49a-4ce1-8a3a-b892401ea7cc" providerId="ADAL" clId="{4FCD8015-0328-482F-A946-944BCFB4CD41}" dt="2019-12-18T18:03:34.502" v="167" actId="1076"/>
          <ac:picMkLst>
            <pc:docMk/>
            <pc:sldMk cId="46483538" sldId="304"/>
            <ac:picMk id="12" creationId="{6080610F-1EBD-460D-9A3A-07171520BB41}"/>
          </ac:picMkLst>
        </pc:picChg>
      </pc:sldChg>
      <pc:sldChg chg="addSp delSp modSp">
        <pc:chgData name="Juliana Falcao - LCA Viagens e Eventos" userId="895038b3-d49a-4ce1-8a3a-b892401ea7cc" providerId="ADAL" clId="{4FCD8015-0328-482F-A946-944BCFB4CD41}" dt="2019-12-18T18:02:42.699" v="160" actId="1076"/>
        <pc:sldMkLst>
          <pc:docMk/>
          <pc:sldMk cId="2455989964" sldId="305"/>
        </pc:sldMkLst>
        <pc:picChg chg="del">
          <ac:chgData name="Juliana Falcao - LCA Viagens e Eventos" userId="895038b3-d49a-4ce1-8a3a-b892401ea7cc" providerId="ADAL" clId="{4FCD8015-0328-482F-A946-944BCFB4CD41}" dt="2019-12-18T18:02:31.409" v="157" actId="478"/>
          <ac:picMkLst>
            <pc:docMk/>
            <pc:sldMk cId="2455989964" sldId="305"/>
            <ac:picMk id="5" creationId="{C5D99831-62AF-40DA-A915-1919DF387848}"/>
          </ac:picMkLst>
        </pc:picChg>
        <pc:picChg chg="add mod modCrop">
          <ac:chgData name="Juliana Falcao - LCA Viagens e Eventos" userId="895038b3-d49a-4ce1-8a3a-b892401ea7cc" providerId="ADAL" clId="{4FCD8015-0328-482F-A946-944BCFB4CD41}" dt="2019-12-18T18:02:42.699" v="160" actId="1076"/>
          <ac:picMkLst>
            <pc:docMk/>
            <pc:sldMk cId="2455989964" sldId="305"/>
            <ac:picMk id="6" creationId="{17A33A45-D775-4505-843D-26573EE42D0C}"/>
          </ac:picMkLst>
        </pc:picChg>
      </pc:sldChg>
      <pc:sldChg chg="addSp delSp modSp add">
        <pc:chgData name="Juliana Falcao - LCA Viagens e Eventos" userId="895038b3-d49a-4ce1-8a3a-b892401ea7cc" providerId="ADAL" clId="{4FCD8015-0328-482F-A946-944BCFB4CD41}" dt="2019-12-18T18:06:09.108" v="203" actId="1037"/>
        <pc:sldMkLst>
          <pc:docMk/>
          <pc:sldMk cId="58832115" sldId="306"/>
        </pc:sldMkLst>
        <pc:picChg chg="add mod modCrop">
          <ac:chgData name="Juliana Falcao - LCA Viagens e Eventos" userId="895038b3-d49a-4ce1-8a3a-b892401ea7cc" providerId="ADAL" clId="{4FCD8015-0328-482F-A946-944BCFB4CD41}" dt="2019-12-18T18:05:05.296" v="192" actId="1076"/>
          <ac:picMkLst>
            <pc:docMk/>
            <pc:sldMk cId="58832115" sldId="306"/>
            <ac:picMk id="6" creationId="{99806767-3DA5-4438-B8E3-F00955B224BD}"/>
          </ac:picMkLst>
        </pc:picChg>
        <pc:picChg chg="del">
          <ac:chgData name="Juliana Falcao - LCA Viagens e Eventos" userId="895038b3-d49a-4ce1-8a3a-b892401ea7cc" providerId="ADAL" clId="{4FCD8015-0328-482F-A946-944BCFB4CD41}" dt="2019-12-18T18:04:30.091" v="185" actId="478"/>
          <ac:picMkLst>
            <pc:docMk/>
            <pc:sldMk cId="58832115" sldId="306"/>
            <ac:picMk id="7" creationId="{2537BCE3-4697-4C4C-8A2A-62CF18B1344F}"/>
          </ac:picMkLst>
        </pc:picChg>
        <pc:picChg chg="add mod modCrop">
          <ac:chgData name="Juliana Falcao - LCA Viagens e Eventos" userId="895038b3-d49a-4ce1-8a3a-b892401ea7cc" providerId="ADAL" clId="{4FCD8015-0328-482F-A946-944BCFB4CD41}" dt="2019-12-18T18:06:09.108" v="203" actId="1037"/>
          <ac:picMkLst>
            <pc:docMk/>
            <pc:sldMk cId="58832115" sldId="306"/>
            <ac:picMk id="10" creationId="{7EB5AB21-94C3-48FC-AA29-34BE88E2B43B}"/>
          </ac:picMkLst>
        </pc:picChg>
      </pc:sldChg>
      <pc:sldChg chg="del">
        <pc:chgData name="Juliana Falcao - LCA Viagens e Eventos" userId="895038b3-d49a-4ce1-8a3a-b892401ea7cc" providerId="ADAL" clId="{4FCD8015-0328-482F-A946-944BCFB4CD41}" dt="2019-12-18T18:03:46.751" v="175" actId="47"/>
        <pc:sldMkLst>
          <pc:docMk/>
          <pc:sldMk cId="403826318" sldId="306"/>
        </pc:sldMkLst>
      </pc:sldChg>
      <pc:sldChg chg="add del">
        <pc:chgData name="Juliana Falcao - LCA Viagens e Eventos" userId="895038b3-d49a-4ce1-8a3a-b892401ea7cc" providerId="ADAL" clId="{4FCD8015-0328-482F-A946-944BCFB4CD41}" dt="2019-12-18T18:04:24.915" v="183"/>
        <pc:sldMkLst>
          <pc:docMk/>
          <pc:sldMk cId="809081783" sldId="306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image" Target="../media/image2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w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4E3D91-D942-4B05-8482-B63F6C15C045}" type="datetimeFigureOut">
              <a:rPr lang="en-US" smtClean="0"/>
              <a:t>12/2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AADB72-3F27-46C3-BFA5-C1D53C506A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6442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AADB72-3F27-46C3-BFA5-C1D53C506A5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0179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AADB72-3F27-46C3-BFA5-C1D53C506A5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1770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AADB72-3F27-46C3-BFA5-C1D53C506A5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3902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AADB72-3F27-46C3-BFA5-C1D53C506A5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13589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AADB72-3F27-46C3-BFA5-C1D53C506A5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3819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AADB72-3F27-46C3-BFA5-C1D53C506A5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0637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AADB72-3F27-46C3-BFA5-C1D53C506A5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9998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AADB72-3F27-46C3-BFA5-C1D53C506A5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4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AADB72-3F27-46C3-BFA5-C1D53C506A5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8565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84157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900"/>
            </a:lvl1pPr>
            <a:lvl2pPr marL="356616" indent="0" algn="ctr">
              <a:buNone/>
              <a:defRPr sz="1600"/>
            </a:lvl2pPr>
            <a:lvl3pPr marL="713232" indent="0" algn="ctr">
              <a:buNone/>
              <a:defRPr sz="1400"/>
            </a:lvl3pPr>
            <a:lvl4pPr marL="1069848" indent="0" algn="ctr">
              <a:buNone/>
              <a:defRPr sz="1200"/>
            </a:lvl4pPr>
            <a:lvl5pPr marL="1426464" indent="0" algn="ctr">
              <a:buNone/>
              <a:defRPr sz="1200"/>
            </a:lvl5pPr>
            <a:lvl6pPr marL="1783080" indent="0" algn="ctr">
              <a:buNone/>
              <a:defRPr sz="1200"/>
            </a:lvl6pPr>
            <a:lvl7pPr marL="2139696" indent="0" algn="ctr">
              <a:buNone/>
              <a:defRPr sz="1200"/>
            </a:lvl7pPr>
            <a:lvl8pPr marL="2496312" indent="0" algn="ctr">
              <a:buNone/>
              <a:defRPr sz="1200"/>
            </a:lvl8pPr>
            <a:lvl9pPr marL="2852928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37A59-AD06-4A35-97FC-232190F474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0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DE878-111F-452B-AE45-F5F9DB97EB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07239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37A59-AD06-4A35-97FC-232190F474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0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DE878-111F-452B-AE45-F5F9DB97EB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1058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7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37A59-AD06-4A35-97FC-232190F474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0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DE878-111F-452B-AE45-F5F9DB97EB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74356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8"/>
          <p:cNvSpPr>
            <a:spLocks noGrp="1"/>
          </p:cNvSpPr>
          <p:nvPr>
            <p:ph type="title"/>
          </p:nvPr>
        </p:nvSpPr>
        <p:spPr bwMode="gray">
          <a:xfrm>
            <a:off x="212857" y="255906"/>
            <a:ext cx="8931151" cy="597132"/>
          </a:xfrm>
          <a:prstGeom prst="rect">
            <a:avLst/>
          </a:prstGeom>
        </p:spPr>
        <p:txBody>
          <a:bodyPr wrap="square" lIns="95081" tIns="47540" rIns="95081" bIns="47540" anchor="ctr" anchorCtr="0"/>
          <a:lstStyle>
            <a:lvl1pPr marL="0" algn="l" defTabSz="950810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950810" algn="l"/>
              </a:tabLst>
              <a:defRPr lang="en-US" sz="2800" kern="1200" cap="none" spc="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509473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37A59-AD06-4A35-97FC-232190F474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0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DE878-111F-452B-AE45-F5F9DB97EB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1523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3"/>
            <a:ext cx="7886700" cy="2852737"/>
          </a:xfrm>
        </p:spPr>
        <p:txBody>
          <a:bodyPr anchor="b"/>
          <a:lstStyle>
            <a:lvl1pPr>
              <a:defRPr sz="4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1pPr>
            <a:lvl2pPr marL="3566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132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698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42646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830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13969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9631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85292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37A59-AD06-4A35-97FC-232190F474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0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DE878-111F-452B-AE45-F5F9DB97EB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109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37A59-AD06-4A35-97FC-232190F474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0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DE878-111F-452B-AE45-F5F9DB97EB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9601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900" b="1"/>
            </a:lvl1pPr>
            <a:lvl2pPr marL="356616" indent="0">
              <a:buNone/>
              <a:defRPr sz="1600" b="1"/>
            </a:lvl2pPr>
            <a:lvl3pPr marL="713232" indent="0">
              <a:buNone/>
              <a:defRPr sz="1400" b="1"/>
            </a:lvl3pPr>
            <a:lvl4pPr marL="1069848" indent="0">
              <a:buNone/>
              <a:defRPr sz="1200" b="1"/>
            </a:lvl4pPr>
            <a:lvl5pPr marL="1426464" indent="0">
              <a:buNone/>
              <a:defRPr sz="1200" b="1"/>
            </a:lvl5pPr>
            <a:lvl6pPr marL="1783080" indent="0">
              <a:buNone/>
              <a:defRPr sz="1200" b="1"/>
            </a:lvl6pPr>
            <a:lvl7pPr marL="2139696" indent="0">
              <a:buNone/>
              <a:defRPr sz="1200" b="1"/>
            </a:lvl7pPr>
            <a:lvl8pPr marL="2496312" indent="0">
              <a:buNone/>
              <a:defRPr sz="1200" b="1"/>
            </a:lvl8pPr>
            <a:lvl9pPr marL="285292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6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7" y="1681163"/>
            <a:ext cx="3887391" cy="823912"/>
          </a:xfrm>
        </p:spPr>
        <p:txBody>
          <a:bodyPr anchor="b"/>
          <a:lstStyle>
            <a:lvl1pPr marL="0" indent="0">
              <a:buNone/>
              <a:defRPr sz="1900" b="1"/>
            </a:lvl1pPr>
            <a:lvl2pPr marL="356616" indent="0">
              <a:buNone/>
              <a:defRPr sz="1600" b="1"/>
            </a:lvl2pPr>
            <a:lvl3pPr marL="713232" indent="0">
              <a:buNone/>
              <a:defRPr sz="1400" b="1"/>
            </a:lvl3pPr>
            <a:lvl4pPr marL="1069848" indent="0">
              <a:buNone/>
              <a:defRPr sz="1200" b="1"/>
            </a:lvl4pPr>
            <a:lvl5pPr marL="1426464" indent="0">
              <a:buNone/>
              <a:defRPr sz="1200" b="1"/>
            </a:lvl5pPr>
            <a:lvl6pPr marL="1783080" indent="0">
              <a:buNone/>
              <a:defRPr sz="1200" b="1"/>
            </a:lvl6pPr>
            <a:lvl7pPr marL="2139696" indent="0">
              <a:buNone/>
              <a:defRPr sz="1200" b="1"/>
            </a:lvl7pPr>
            <a:lvl8pPr marL="2496312" indent="0">
              <a:buNone/>
              <a:defRPr sz="1200" b="1"/>
            </a:lvl8pPr>
            <a:lvl9pPr marL="285292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7" y="2505076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37A59-AD06-4A35-97FC-232190F474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0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DE878-111F-452B-AE45-F5F9DB97EB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914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37A59-AD06-4A35-97FC-232190F474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0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DE878-111F-452B-AE45-F5F9DB97EB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26546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37A59-AD06-4A35-97FC-232190F474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0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DE878-111F-452B-AE45-F5F9DB97EB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9702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>
              <a:defRPr sz="2500"/>
            </a:lvl1pPr>
            <a:lvl2pPr>
              <a:defRPr sz="22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56616" indent="0">
              <a:buNone/>
              <a:defRPr sz="1100"/>
            </a:lvl2pPr>
            <a:lvl3pPr marL="713232" indent="0">
              <a:buNone/>
              <a:defRPr sz="900"/>
            </a:lvl3pPr>
            <a:lvl4pPr marL="1069848" indent="0">
              <a:buNone/>
              <a:defRPr sz="800"/>
            </a:lvl4pPr>
            <a:lvl5pPr marL="1426464" indent="0">
              <a:buNone/>
              <a:defRPr sz="800"/>
            </a:lvl5pPr>
            <a:lvl6pPr marL="1783080" indent="0">
              <a:buNone/>
              <a:defRPr sz="800"/>
            </a:lvl6pPr>
            <a:lvl7pPr marL="2139696" indent="0">
              <a:buNone/>
              <a:defRPr sz="800"/>
            </a:lvl7pPr>
            <a:lvl8pPr marL="2496312" indent="0">
              <a:buNone/>
              <a:defRPr sz="800"/>
            </a:lvl8pPr>
            <a:lvl9pPr marL="2852928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37A59-AD06-4A35-97FC-232190F474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0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DE878-111F-452B-AE45-F5F9DB97EB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53368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 marL="0" indent="0">
              <a:buNone/>
              <a:defRPr sz="2500"/>
            </a:lvl1pPr>
            <a:lvl2pPr marL="356616" indent="0">
              <a:buNone/>
              <a:defRPr sz="2200"/>
            </a:lvl2pPr>
            <a:lvl3pPr marL="713232" indent="0">
              <a:buNone/>
              <a:defRPr sz="1900"/>
            </a:lvl3pPr>
            <a:lvl4pPr marL="1069848" indent="0">
              <a:buNone/>
              <a:defRPr sz="1600"/>
            </a:lvl4pPr>
            <a:lvl5pPr marL="1426464" indent="0">
              <a:buNone/>
              <a:defRPr sz="1600"/>
            </a:lvl5pPr>
            <a:lvl6pPr marL="1783080" indent="0">
              <a:buNone/>
              <a:defRPr sz="1600"/>
            </a:lvl6pPr>
            <a:lvl7pPr marL="2139696" indent="0">
              <a:buNone/>
              <a:defRPr sz="1600"/>
            </a:lvl7pPr>
            <a:lvl8pPr marL="2496312" indent="0">
              <a:buNone/>
              <a:defRPr sz="1600"/>
            </a:lvl8pPr>
            <a:lvl9pPr marL="2852928" indent="0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56616" indent="0">
              <a:buNone/>
              <a:defRPr sz="1100"/>
            </a:lvl2pPr>
            <a:lvl3pPr marL="713232" indent="0">
              <a:buNone/>
              <a:defRPr sz="900"/>
            </a:lvl3pPr>
            <a:lvl4pPr marL="1069848" indent="0">
              <a:buNone/>
              <a:defRPr sz="800"/>
            </a:lvl4pPr>
            <a:lvl5pPr marL="1426464" indent="0">
              <a:buNone/>
              <a:defRPr sz="800"/>
            </a:lvl5pPr>
            <a:lvl6pPr marL="1783080" indent="0">
              <a:buNone/>
              <a:defRPr sz="800"/>
            </a:lvl6pPr>
            <a:lvl7pPr marL="2139696" indent="0">
              <a:buNone/>
              <a:defRPr sz="800"/>
            </a:lvl7pPr>
            <a:lvl8pPr marL="2496312" indent="0">
              <a:buNone/>
              <a:defRPr sz="800"/>
            </a:lvl8pPr>
            <a:lvl9pPr marL="2852928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37A59-AD06-4A35-97FC-232190F474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0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DE878-111F-452B-AE45-F5F9DB97EB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7756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560658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16" imgW="359" imgH="360" progId="TCLayout.ActiveDocument.1">
                  <p:embed/>
                </p:oleObj>
              </mc:Choice>
              <mc:Fallback>
                <p:oleObj name="think-cell Slide" r:id="rId16" imgW="359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71323" tIns="35662" rIns="71323" bIns="35662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71323" tIns="35662" rIns="71323" bIns="3566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 vert="horz" lIns="71323" tIns="35662" rIns="71323" bIns="35662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13232"/>
            <a:fld id="{39637A59-AD06-4A35-97FC-232190F474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13232"/>
              <a:t>12/20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5"/>
            <a:ext cx="3086100" cy="365125"/>
          </a:xfrm>
          <a:prstGeom prst="rect">
            <a:avLst/>
          </a:prstGeom>
        </p:spPr>
        <p:txBody>
          <a:bodyPr vert="horz" lIns="71323" tIns="35662" rIns="71323" bIns="35662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13232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5"/>
            <a:ext cx="2057400" cy="365125"/>
          </a:xfrm>
          <a:prstGeom prst="rect">
            <a:avLst/>
          </a:prstGeom>
        </p:spPr>
        <p:txBody>
          <a:bodyPr vert="horz" lIns="71323" tIns="35662" rIns="71323" bIns="35662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13232"/>
            <a:fld id="{576DE878-111F-452B-AE45-F5F9DB97EB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13232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l"/>
          <p:cNvSpPr txBox="1"/>
          <p:nvPr userDrawn="1"/>
        </p:nvSpPr>
        <p:spPr>
          <a:xfrm>
            <a:off x="0" y="6520180"/>
            <a:ext cx="91440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MSIPCMContentMarking" descr="{&quot;HashCode&quot;:-1913046509,&quot;Placement&quot;:&quot;Footer&quot;}">
            <a:extLst>
              <a:ext uri="{FF2B5EF4-FFF2-40B4-BE49-F238E27FC236}">
                <a16:creationId xmlns:a16="http://schemas.microsoft.com/office/drawing/2014/main" id="{B0456A4A-8072-43BC-9A09-8022EF05A6FE}"/>
              </a:ext>
            </a:extLst>
          </p:cNvPr>
          <p:cNvSpPr txBox="1"/>
          <p:nvPr userDrawn="1"/>
        </p:nvSpPr>
        <p:spPr>
          <a:xfrm>
            <a:off x="0" y="6664017"/>
            <a:ext cx="1028784" cy="19398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52177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</p:sldLayoutIdLst>
  <p:txStyles>
    <p:titleStyle>
      <a:lvl1pPr algn="l" defTabSz="713232" rtl="0" eaLnBrk="1" latinLnBrk="0" hangingPunct="1">
        <a:lnSpc>
          <a:spcPct val="90000"/>
        </a:lnSpc>
        <a:spcBef>
          <a:spcPct val="0"/>
        </a:spcBef>
        <a:buNone/>
        <a:defRPr sz="3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8308" indent="-178308" algn="l" defTabSz="713232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24" indent="-178308" algn="l" defTabSz="713232" rtl="0" eaLnBrk="1" latinLnBrk="0" hangingPunct="1">
        <a:lnSpc>
          <a:spcPct val="90000"/>
        </a:lnSpc>
        <a:spcBef>
          <a:spcPts val="39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891540" indent="-178308" algn="l" defTabSz="713232" rtl="0" eaLnBrk="1" latinLnBrk="0" hangingPunct="1">
        <a:lnSpc>
          <a:spcPct val="90000"/>
        </a:lnSpc>
        <a:spcBef>
          <a:spcPts val="39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8156" indent="-178308" algn="l" defTabSz="713232" rtl="0" eaLnBrk="1" latinLnBrk="0" hangingPunct="1">
        <a:lnSpc>
          <a:spcPct val="90000"/>
        </a:lnSpc>
        <a:spcBef>
          <a:spcPts val="39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04772" indent="-178308" algn="l" defTabSz="713232" rtl="0" eaLnBrk="1" latinLnBrk="0" hangingPunct="1">
        <a:lnSpc>
          <a:spcPct val="90000"/>
        </a:lnSpc>
        <a:spcBef>
          <a:spcPts val="39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961388" indent="-178308" algn="l" defTabSz="713232" rtl="0" eaLnBrk="1" latinLnBrk="0" hangingPunct="1">
        <a:lnSpc>
          <a:spcPct val="90000"/>
        </a:lnSpc>
        <a:spcBef>
          <a:spcPts val="39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318004" indent="-178308" algn="l" defTabSz="713232" rtl="0" eaLnBrk="1" latinLnBrk="0" hangingPunct="1">
        <a:lnSpc>
          <a:spcPct val="90000"/>
        </a:lnSpc>
        <a:spcBef>
          <a:spcPts val="39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620" indent="-178308" algn="l" defTabSz="713232" rtl="0" eaLnBrk="1" latinLnBrk="0" hangingPunct="1">
        <a:lnSpc>
          <a:spcPct val="90000"/>
        </a:lnSpc>
        <a:spcBef>
          <a:spcPts val="39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236" indent="-178308" algn="l" defTabSz="713232" rtl="0" eaLnBrk="1" latinLnBrk="0" hangingPunct="1">
        <a:lnSpc>
          <a:spcPct val="90000"/>
        </a:lnSpc>
        <a:spcBef>
          <a:spcPts val="39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616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232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848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464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3080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696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312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928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wmf"/><Relationship Id="rId3" Type="http://schemas.openxmlformats.org/officeDocument/2006/relationships/notesSlide" Target="../notesSlides/notesSlide2.xml"/><Relationship Id="rId7" Type="http://schemas.openxmlformats.org/officeDocument/2006/relationships/package" Target="../embeddings/Microsoft_Excel_Worksheet.xlsx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w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w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6.wmf"/><Relationship Id="rId4" Type="http://schemas.openxmlformats.org/officeDocument/2006/relationships/image" Target="../media/image17.emf"/><Relationship Id="rId9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0" y="-8792"/>
            <a:ext cx="685800" cy="685799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 rot="16200000">
            <a:off x="-451542" y="3229878"/>
            <a:ext cx="15888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</a:t>
            </a:r>
          </a:p>
        </p:txBody>
      </p:sp>
      <p:sp>
        <p:nvSpPr>
          <p:cNvPr id="17" name="Text Placeholder 5"/>
          <p:cNvSpPr txBox="1">
            <a:spLocks/>
          </p:cNvSpPr>
          <p:nvPr/>
        </p:nvSpPr>
        <p:spPr>
          <a:xfrm>
            <a:off x="0" y="130366"/>
            <a:ext cx="9144000" cy="8259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1320" tIns="35661" rIns="71320" bIns="35661"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te POP Template Cover Page (for ALL funds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772400" y="6511245"/>
            <a:ext cx="119455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>
                    <a:lumMod val="65000"/>
                  </a:schemeClr>
                </a:solidFill>
              </a:rPr>
              <a:t>V 2.0 – June 2019</a:t>
            </a:r>
          </a:p>
        </p:txBody>
      </p:sp>
      <p:sp>
        <p:nvSpPr>
          <p:cNvPr id="18" name="flFirstPage"/>
          <p:cNvSpPr txBox="1"/>
          <p:nvPr/>
        </p:nvSpPr>
        <p:spPr>
          <a:xfrm>
            <a:off x="0" y="6520180"/>
            <a:ext cx="18473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en-US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DD495E6C-3A6B-43E4-AF9E-BACC8C8FDA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9708373"/>
              </p:ext>
            </p:extLst>
          </p:nvPr>
        </p:nvGraphicFramePr>
        <p:xfrm>
          <a:off x="811123" y="1511074"/>
          <a:ext cx="8088986" cy="4463036"/>
        </p:xfrm>
        <a:graphic>
          <a:graphicData uri="http://schemas.openxmlformats.org/drawingml/2006/table">
            <a:tbl>
              <a:tblPr/>
              <a:tblGrid>
                <a:gridCol w="268926">
                  <a:extLst>
                    <a:ext uri="{9D8B030D-6E8A-4147-A177-3AD203B41FA5}">
                      <a16:colId xmlns:a16="http://schemas.microsoft.com/office/drawing/2014/main" val="2397627389"/>
                    </a:ext>
                  </a:extLst>
                </a:gridCol>
                <a:gridCol w="62700">
                  <a:extLst>
                    <a:ext uri="{9D8B030D-6E8A-4147-A177-3AD203B41FA5}">
                      <a16:colId xmlns:a16="http://schemas.microsoft.com/office/drawing/2014/main" val="363725945"/>
                    </a:ext>
                  </a:extLst>
                </a:gridCol>
                <a:gridCol w="1676651">
                  <a:extLst>
                    <a:ext uri="{9D8B030D-6E8A-4147-A177-3AD203B41FA5}">
                      <a16:colId xmlns:a16="http://schemas.microsoft.com/office/drawing/2014/main" val="314543427"/>
                    </a:ext>
                  </a:extLst>
                </a:gridCol>
                <a:gridCol w="169401">
                  <a:extLst>
                    <a:ext uri="{9D8B030D-6E8A-4147-A177-3AD203B41FA5}">
                      <a16:colId xmlns:a16="http://schemas.microsoft.com/office/drawing/2014/main" val="555401938"/>
                    </a:ext>
                  </a:extLst>
                </a:gridCol>
                <a:gridCol w="1349396">
                  <a:extLst>
                    <a:ext uri="{9D8B030D-6E8A-4147-A177-3AD203B41FA5}">
                      <a16:colId xmlns:a16="http://schemas.microsoft.com/office/drawing/2014/main" val="1047366592"/>
                    </a:ext>
                  </a:extLst>
                </a:gridCol>
                <a:gridCol w="1676552">
                  <a:extLst>
                    <a:ext uri="{9D8B030D-6E8A-4147-A177-3AD203B41FA5}">
                      <a16:colId xmlns:a16="http://schemas.microsoft.com/office/drawing/2014/main" val="1212719311"/>
                    </a:ext>
                  </a:extLst>
                </a:gridCol>
                <a:gridCol w="679339">
                  <a:extLst>
                    <a:ext uri="{9D8B030D-6E8A-4147-A177-3AD203B41FA5}">
                      <a16:colId xmlns:a16="http://schemas.microsoft.com/office/drawing/2014/main" val="3871402201"/>
                    </a:ext>
                  </a:extLst>
                </a:gridCol>
                <a:gridCol w="999323">
                  <a:extLst>
                    <a:ext uri="{9D8B030D-6E8A-4147-A177-3AD203B41FA5}">
                      <a16:colId xmlns:a16="http://schemas.microsoft.com/office/drawing/2014/main" val="588799309"/>
                    </a:ext>
                  </a:extLst>
                </a:gridCol>
                <a:gridCol w="371198">
                  <a:extLst>
                    <a:ext uri="{9D8B030D-6E8A-4147-A177-3AD203B41FA5}">
                      <a16:colId xmlns:a16="http://schemas.microsoft.com/office/drawing/2014/main" val="2258084413"/>
                    </a:ext>
                  </a:extLst>
                </a:gridCol>
                <a:gridCol w="328851">
                  <a:extLst>
                    <a:ext uri="{9D8B030D-6E8A-4147-A177-3AD203B41FA5}">
                      <a16:colId xmlns:a16="http://schemas.microsoft.com/office/drawing/2014/main" val="2556850977"/>
                    </a:ext>
                  </a:extLst>
                </a:gridCol>
                <a:gridCol w="506649">
                  <a:extLst>
                    <a:ext uri="{9D8B030D-6E8A-4147-A177-3AD203B41FA5}">
                      <a16:colId xmlns:a16="http://schemas.microsoft.com/office/drawing/2014/main" val="2620346195"/>
                    </a:ext>
                  </a:extLst>
                </a:gridCol>
              </a:tblGrid>
              <a:tr h="283796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7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y Details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7874118"/>
                  </a:ext>
                </a:extLst>
              </a:tr>
              <a:tr h="262454"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b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b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0540236"/>
                  </a:ext>
                </a:extLst>
              </a:tr>
              <a:tr h="2806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MD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3">
                  <a:txBody>
                    <a:bodyPr/>
                    <a:lstStyle/>
                    <a:p>
                      <a:pPr marL="0" algn="l" defTabSz="713232" rtl="0" eaLnBrk="1" fontAlgn="b" latinLnBrk="0" hangingPunct="1"/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ctivity Name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rowSpan="3" gridSpan="6">
                  <a:txBody>
                    <a:bodyPr/>
                    <a:lstStyle/>
                    <a:p>
                      <a:pPr marL="88900" marR="0" lvl="0" indent="0" algn="l" defTabSz="7132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Y20Q4_ECOSYSTEM_ROADSHOW_CITY2_INCR</a:t>
                      </a: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_STORAG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3"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3"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4617064"/>
                  </a:ext>
                </a:extLst>
              </a:tr>
              <a:tr h="262454"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6"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333613"/>
                  </a:ext>
                </a:extLst>
              </a:tr>
              <a:tr h="27307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cAfee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6"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965342"/>
                  </a:ext>
                </a:extLst>
              </a:tr>
              <a:tr h="283796">
                <a:tc>
                  <a:txBody>
                    <a:bodyPr/>
                    <a:lstStyle/>
                    <a:p>
                      <a:pPr algn="ctr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0846605"/>
                  </a:ext>
                </a:extLst>
              </a:tr>
              <a:tr h="29586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 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13232" rtl="0" eaLnBrk="1" fontAlgn="ctr" latinLnBrk="0" hangingPunct="1"/>
                      <a:endParaRPr lang="en-US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13232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IP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locadia ID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327060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13232" rtl="0" eaLnBrk="1" fontAlgn="b" latinLnBrk="0" hangingPunct="1"/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art Date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 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5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2188847"/>
                  </a:ext>
                </a:extLst>
              </a:tr>
              <a:tr h="283796">
                <a:tc>
                  <a:txBody>
                    <a:bodyPr/>
                    <a:lstStyle/>
                    <a:p>
                      <a:pPr algn="ctr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5850299"/>
                  </a:ext>
                </a:extLst>
              </a:tr>
              <a:tr h="2837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13232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IF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llShare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D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2446041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13232" rtl="0" eaLnBrk="1" fontAlgn="b" latinLnBrk="0" hangingPunct="1"/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nd Date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 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5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8264215"/>
                  </a:ext>
                </a:extLst>
              </a:tr>
              <a:tr h="283796">
                <a:tc>
                  <a:txBody>
                    <a:bodyPr/>
                    <a:lstStyle/>
                    <a:p>
                      <a:pPr algn="ctr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1403127"/>
                  </a:ext>
                </a:extLst>
              </a:tr>
              <a:tr h="27307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13232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MSFT Discretionary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13232" rtl="0" eaLnBrk="1" fontAlgn="b" latinLnBrk="0" hangingPunct="1"/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untry(</a:t>
                      </a:r>
                      <a:r>
                        <a:rPr lang="en-US" sz="14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es</a:t>
                      </a:r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Goiania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7855314"/>
                  </a:ext>
                </a:extLst>
              </a:tr>
              <a:tr h="284814">
                <a:tc>
                  <a:txBody>
                    <a:bodyPr/>
                    <a:lstStyle/>
                    <a:p>
                      <a:pPr marL="0" algn="ctr" defTabSz="713232" rtl="0" eaLnBrk="1" fontAlgn="b" latinLnBrk="0" hangingPunct="1"/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13232" rtl="0" eaLnBrk="1" fontAlgn="b" latinLnBrk="0" hangingPunct="1"/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13232" rtl="0" eaLnBrk="1" fontAlgn="b" latinLnBrk="0" hangingPunct="1"/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13232" rtl="0" eaLnBrk="1" fontAlgn="b" latinLnBrk="0" hangingPunct="1"/>
                      <a:endParaRPr lang="en-US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6">
                  <a:txBody>
                    <a:bodyPr/>
                    <a:lstStyle/>
                    <a:p>
                      <a:pPr algn="l" rtl="0" eaLnBrk="1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7010603"/>
                  </a:ext>
                </a:extLst>
              </a:tr>
              <a:tr h="2837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13232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MSFT Performance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13232" rtl="0" eaLnBrk="1" fontAlgn="b" latinLnBrk="0" hangingPunct="1"/>
                      <a:r>
                        <a:rPr lang="en-US" sz="14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ctivity type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algn="l" defTabSz="713232" rtl="0" eaLnBrk="1" fontAlgn="ctr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vent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2589867"/>
                  </a:ext>
                </a:extLst>
              </a:tr>
              <a:tr h="32723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859" marR="5859" marT="585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13232" rtl="0" eaLnBrk="1" fontAlgn="ctr" latinLnBrk="0" hangingPunct="1"/>
                      <a:endParaRPr lang="en-US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6">
                  <a:txBody>
                    <a:bodyPr/>
                    <a:lstStyle/>
                    <a:p>
                      <a:pPr eaLnBrk="1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8315187"/>
                  </a:ext>
                </a:extLst>
              </a:tr>
              <a:tr h="273074">
                <a:tc>
                  <a:txBody>
                    <a:bodyPr/>
                    <a:lstStyle/>
                    <a:p>
                      <a:pPr algn="ctr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13232" rtl="0" eaLnBrk="1" fontAlgn="ctr" latinLnBrk="0" hangingPunct="1"/>
                      <a:endParaRPr lang="en-US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13232" rtl="0" eaLnBrk="1" fontAlgn="b" latinLnBrk="0" hangingPunct="1"/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ctivity Cost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713232" rtl="0" eaLnBrk="1" fontAlgn="b" latinLnBrk="0" hangingPunct="1"/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,500.00 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32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in USD)</a:t>
                      </a:r>
                    </a:p>
                  </a:txBody>
                  <a:tcPr marL="5859" marR="5859" marT="585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endParaRPr lang="en-US" dirty="0"/>
                    </a:p>
                  </a:txBody>
                  <a:tcPr marL="5859" marR="5859" marT="585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9711067"/>
                  </a:ext>
                </a:extLst>
              </a:tr>
              <a:tr h="227562">
                <a:tc>
                  <a:txBody>
                    <a:bodyPr/>
                    <a:lstStyle/>
                    <a:p>
                      <a:pPr algn="ctr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859" marR="5859" marT="58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59" marR="5859" marT="58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18964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99968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685800" cy="685799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TextBox 2"/>
          <p:cNvSpPr txBox="1"/>
          <p:nvPr/>
        </p:nvSpPr>
        <p:spPr>
          <a:xfrm rot="16200000">
            <a:off x="-1115986" y="3198168"/>
            <a:ext cx="29177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of of Execution</a:t>
            </a:r>
          </a:p>
        </p:txBody>
      </p:sp>
      <p:sp>
        <p:nvSpPr>
          <p:cNvPr id="4" name="Rectangle 3"/>
          <p:cNvSpPr/>
          <p:nvPr/>
        </p:nvSpPr>
        <p:spPr>
          <a:xfrm>
            <a:off x="3253428" y="4736788"/>
            <a:ext cx="3048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Placeholder 5"/>
          <p:cNvSpPr txBox="1">
            <a:spLocks/>
          </p:cNvSpPr>
          <p:nvPr/>
        </p:nvSpPr>
        <p:spPr>
          <a:xfrm>
            <a:off x="1" y="120691"/>
            <a:ext cx="9144000" cy="870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1320" tIns="35661" rIns="71320" bIns="35661"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ing Documentation</a:t>
            </a:r>
          </a:p>
        </p:txBody>
      </p:sp>
      <p:pic>
        <p:nvPicPr>
          <p:cNvPr id="8" name="Imagem 7" descr="Uma imagem contendo screenshot, texto&#10;&#10;Descrição gerada automaticamente">
            <a:extLst>
              <a:ext uri="{FF2B5EF4-FFF2-40B4-BE49-F238E27FC236}">
                <a16:creationId xmlns:a16="http://schemas.microsoft.com/office/drawing/2014/main" id="{1060E071-F018-491A-A53B-D4AF4B42E77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1307581"/>
            <a:ext cx="2522092" cy="5365709"/>
          </a:xfrm>
          <a:prstGeom prst="rect">
            <a:avLst/>
          </a:prstGeom>
        </p:spPr>
      </p:pic>
      <p:graphicFrame>
        <p:nvGraphicFramePr>
          <p:cNvPr id="10" name="Objeto 9">
            <a:extLst>
              <a:ext uri="{FF2B5EF4-FFF2-40B4-BE49-F238E27FC236}">
                <a16:creationId xmlns:a16="http://schemas.microsoft.com/office/drawing/2014/main" id="{23790946-C289-4600-BF87-0C464B89301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28586152"/>
              </p:ext>
            </p:extLst>
          </p:nvPr>
        </p:nvGraphicFramePr>
        <p:xfrm>
          <a:off x="3980838" y="1127903"/>
          <a:ext cx="1387282" cy="11705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Acrobat Document" showAsIcon="1" r:id="rId5" imgW="914400" imgH="771480" progId="AcroExch.Document.DC">
                  <p:embed/>
                </p:oleObj>
              </mc:Choice>
              <mc:Fallback>
                <p:oleObj name="Acrobat Document" showAsIcon="1" r:id="rId5" imgW="914400" imgH="771480" progId="AcroExch.Document.DC">
                  <p:embed/>
                  <p:pic>
                    <p:nvPicPr>
                      <p:cNvPr id="10" name="Objeto 9">
                        <a:extLst>
                          <a:ext uri="{FF2B5EF4-FFF2-40B4-BE49-F238E27FC236}">
                            <a16:creationId xmlns:a16="http://schemas.microsoft.com/office/drawing/2014/main" id="{23790946-C289-4600-BF87-0C464B8930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980838" y="1127903"/>
                        <a:ext cx="1387282" cy="11705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Tabela 10">
            <a:extLst>
              <a:ext uri="{FF2B5EF4-FFF2-40B4-BE49-F238E27FC236}">
                <a16:creationId xmlns:a16="http://schemas.microsoft.com/office/drawing/2014/main" id="{CAC2E0F2-70D6-433D-B1CA-85D459A183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5089686"/>
              </p:ext>
            </p:extLst>
          </p:nvPr>
        </p:nvGraphicFramePr>
        <p:xfrm>
          <a:off x="3906792" y="2057400"/>
          <a:ext cx="4932408" cy="4510685"/>
        </p:xfrm>
        <a:graphic>
          <a:graphicData uri="http://schemas.openxmlformats.org/drawingml/2006/table">
            <a:tbl>
              <a:tblPr/>
              <a:tblGrid>
                <a:gridCol w="793949">
                  <a:extLst>
                    <a:ext uri="{9D8B030D-6E8A-4147-A177-3AD203B41FA5}">
                      <a16:colId xmlns:a16="http://schemas.microsoft.com/office/drawing/2014/main" val="4162348679"/>
                    </a:ext>
                  </a:extLst>
                </a:gridCol>
                <a:gridCol w="1746688">
                  <a:extLst>
                    <a:ext uri="{9D8B030D-6E8A-4147-A177-3AD203B41FA5}">
                      <a16:colId xmlns:a16="http://schemas.microsoft.com/office/drawing/2014/main" val="4156044199"/>
                    </a:ext>
                  </a:extLst>
                </a:gridCol>
                <a:gridCol w="2391771">
                  <a:extLst>
                    <a:ext uri="{9D8B030D-6E8A-4147-A177-3AD203B41FA5}">
                      <a16:colId xmlns:a16="http://schemas.microsoft.com/office/drawing/2014/main" val="947180683"/>
                    </a:ext>
                  </a:extLst>
                </a:gridCol>
              </a:tblGrid>
              <a:tr h="157611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7240" marR="7240" marT="72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me</a:t>
                      </a:r>
                    </a:p>
                  </a:txBody>
                  <a:tcPr marL="7240" marR="7240" marT="72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mpresa</a:t>
                      </a:r>
                    </a:p>
                  </a:txBody>
                  <a:tcPr marL="7240" marR="7240" marT="72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6024049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varo Gouveia Jr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upo TecnoSeg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2227446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thur Guilarducci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gratto Tecnologia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5187445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ego Peixoto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RP CENTER TECNOLOGIA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6240933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nailton José da Silva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C Goiás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5415656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OGO PEIXOTO DE MOURA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RP CENTER TECNOLOGIA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9452229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ogo Ramos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noseg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4138817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URIPEDES ANDRAD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IUS CONSULTORIA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9901973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rnando Gonçalves da Silva Linos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spital Anis Rassi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11230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maliel Rodrigues da Luz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lexIstar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854175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ncoln Brito de Lima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versidade Federal de Goiás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2987224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uel Burlamaqui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upo Toctao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474919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celo Lopes de Souza   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o Mundo Móveis e Utilidades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4112316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cos Antonio P. Sousa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retaria de Economia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2530685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tan Mendonça Nogueira         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MAD 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231396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ulo Bueno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a do Pica-Pau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2227966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ulo Vitor F. da S. Cabral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lexIstar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0901905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dro Braga       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mach Soluções    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3172597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fael Barbosa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lex Istar    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4780132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GERIO OLIVEIRA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GRATTO              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3716217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artakus E. M. Pimenta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o Mundo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7347636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ciano Rossi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ft Construtora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678592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iago Vieira de Sousa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mach Tecnologia para Negócios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4254690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ysses Ribeiro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ga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7695606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nicius Teixeira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upo MP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0344809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valdo Neto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odonto Goiania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3761482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-Staff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so Bonilha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l Technologies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475677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-Staff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stavo Brasil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l Technologies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5775504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-Staff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cas Granussi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l Technologies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8560280"/>
                  </a:ext>
                </a:extLst>
              </a:tr>
              <a:tr h="150106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nte-Staff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lete Tessare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l Technologies</a:t>
                      </a:r>
                    </a:p>
                  </a:txBody>
                  <a:tcPr marL="7240" marR="7240" marT="72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7640418"/>
                  </a:ext>
                </a:extLst>
              </a:tr>
            </a:tbl>
          </a:graphicData>
        </a:graphic>
      </p:graphicFrame>
      <p:graphicFrame>
        <p:nvGraphicFramePr>
          <p:cNvPr id="15" name="Objeto 14">
            <a:extLst>
              <a:ext uri="{FF2B5EF4-FFF2-40B4-BE49-F238E27FC236}">
                <a16:creationId xmlns:a16="http://schemas.microsoft.com/office/drawing/2014/main" id="{79ED48E2-68D1-4A2B-A503-80F6DB11FF1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00295629"/>
              </p:ext>
            </p:extLst>
          </p:nvPr>
        </p:nvGraphicFramePr>
        <p:xfrm>
          <a:off x="6209077" y="1074797"/>
          <a:ext cx="1143000" cy="9644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Worksheet" showAsIcon="1" r:id="rId7" imgW="914400" imgH="771480" progId="Excel.Sheet.12">
                  <p:embed/>
                </p:oleObj>
              </mc:Choice>
              <mc:Fallback>
                <p:oleObj name="Worksheet" showAsIcon="1" r:id="rId7" imgW="914400" imgH="771480" progId="Excel.Sheet.12">
                  <p:embed/>
                  <p:pic>
                    <p:nvPicPr>
                      <p:cNvPr id="15" name="Objeto 14">
                        <a:extLst>
                          <a:ext uri="{FF2B5EF4-FFF2-40B4-BE49-F238E27FC236}">
                            <a16:creationId xmlns:a16="http://schemas.microsoft.com/office/drawing/2014/main" id="{79ED48E2-68D1-4A2B-A503-80F6DB11FF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209077" y="1074797"/>
                        <a:ext cx="1143000" cy="9644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760853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685800" cy="685799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TextBox 2"/>
          <p:cNvSpPr txBox="1"/>
          <p:nvPr/>
        </p:nvSpPr>
        <p:spPr>
          <a:xfrm rot="16200000">
            <a:off x="-1115986" y="3198168"/>
            <a:ext cx="29177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of of Execution</a:t>
            </a:r>
          </a:p>
        </p:txBody>
      </p:sp>
      <p:sp>
        <p:nvSpPr>
          <p:cNvPr id="4" name="Rectangle 3"/>
          <p:cNvSpPr/>
          <p:nvPr/>
        </p:nvSpPr>
        <p:spPr>
          <a:xfrm>
            <a:off x="3253428" y="4736788"/>
            <a:ext cx="3048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Placeholder 5"/>
          <p:cNvSpPr txBox="1">
            <a:spLocks/>
          </p:cNvSpPr>
          <p:nvPr/>
        </p:nvSpPr>
        <p:spPr>
          <a:xfrm>
            <a:off x="1" y="120691"/>
            <a:ext cx="9144000" cy="870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1320" tIns="35661" rIns="71320" bIns="35661"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ing Documentation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2554220A-A36D-4D7C-BFE5-7F2412606861}"/>
              </a:ext>
            </a:extLst>
          </p:cNvPr>
          <p:cNvSpPr txBox="1"/>
          <p:nvPr/>
        </p:nvSpPr>
        <p:spPr>
          <a:xfrm>
            <a:off x="3514367" y="1143000"/>
            <a:ext cx="2324226" cy="46166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/>
            <a:r>
              <a:rPr lang="pt-BR" sz="2400" b="1" dirty="0"/>
              <a:t>Squeeze em inox</a:t>
            </a:r>
            <a:endParaRPr lang="pt-BR" b="1" dirty="0"/>
          </a:p>
        </p:txBody>
      </p:sp>
      <p:pic>
        <p:nvPicPr>
          <p:cNvPr id="7" name="Imagem 6" descr="Uma imagem contendo garrafa&#10;&#10;Descrição gerada automaticamente">
            <a:extLst>
              <a:ext uri="{FF2B5EF4-FFF2-40B4-BE49-F238E27FC236}">
                <a16:creationId xmlns:a16="http://schemas.microsoft.com/office/drawing/2014/main" id="{DCEE071B-2D9C-42BC-B1A1-4D0E8256F5F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017" y="1929304"/>
            <a:ext cx="1838350" cy="4572000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3CFFDB0F-6B2B-4054-938D-C00207FF28C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56" t="14450" b="26891"/>
          <a:stretch/>
        </p:blipFill>
        <p:spPr>
          <a:xfrm>
            <a:off x="4375764" y="1705926"/>
            <a:ext cx="4291396" cy="503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0253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685800" cy="685799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TextBox 2"/>
          <p:cNvSpPr txBox="1"/>
          <p:nvPr/>
        </p:nvSpPr>
        <p:spPr>
          <a:xfrm rot="16200000">
            <a:off x="-1115986" y="3198168"/>
            <a:ext cx="29177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of of Execution</a:t>
            </a:r>
          </a:p>
        </p:txBody>
      </p:sp>
      <p:sp>
        <p:nvSpPr>
          <p:cNvPr id="4" name="Rectangle 3"/>
          <p:cNvSpPr/>
          <p:nvPr/>
        </p:nvSpPr>
        <p:spPr>
          <a:xfrm>
            <a:off x="3253428" y="4736788"/>
            <a:ext cx="3048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Placeholder 5"/>
          <p:cNvSpPr txBox="1">
            <a:spLocks/>
          </p:cNvSpPr>
          <p:nvPr/>
        </p:nvSpPr>
        <p:spPr>
          <a:xfrm>
            <a:off x="1" y="120691"/>
            <a:ext cx="9144000" cy="870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1320" tIns="35661" rIns="71320" bIns="35661"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ing Documentation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2554220A-A36D-4D7C-BFE5-7F2412606861}"/>
              </a:ext>
            </a:extLst>
          </p:cNvPr>
          <p:cNvSpPr txBox="1"/>
          <p:nvPr/>
        </p:nvSpPr>
        <p:spPr>
          <a:xfrm>
            <a:off x="4124085" y="1143000"/>
            <a:ext cx="1104791" cy="46166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/>
            <a:r>
              <a:rPr lang="pt-BR" sz="2400" b="1" dirty="0"/>
              <a:t>Banner</a:t>
            </a:r>
            <a:endParaRPr lang="pt-BR" b="1" dirty="0"/>
          </a:p>
        </p:txBody>
      </p:sp>
      <p:pic>
        <p:nvPicPr>
          <p:cNvPr id="6" name="Imagem 5" descr="Uma imagem contendo preto, computador&#10;&#10;Descrição gerada automaticamente">
            <a:extLst>
              <a:ext uri="{FF2B5EF4-FFF2-40B4-BE49-F238E27FC236}">
                <a16:creationId xmlns:a16="http://schemas.microsoft.com/office/drawing/2014/main" id="{A126637E-1297-4968-9954-FF067F0B223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1405885"/>
            <a:ext cx="2332481" cy="5253335"/>
          </a:xfrm>
          <a:prstGeom prst="rect">
            <a:avLst/>
          </a:prstGeom>
        </p:spPr>
      </p:pic>
      <p:pic>
        <p:nvPicPr>
          <p:cNvPr id="12" name="Imagem 11" descr="Uma imagem contendo no interior, quarto, mesa, vivendo&#10;&#10;Descrição gerada automaticamente">
            <a:extLst>
              <a:ext uri="{FF2B5EF4-FFF2-40B4-BE49-F238E27FC236}">
                <a16:creationId xmlns:a16="http://schemas.microsoft.com/office/drawing/2014/main" id="{6080610F-1EBD-460D-9A3A-07171520BB4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15" b="16667"/>
          <a:stretch/>
        </p:blipFill>
        <p:spPr>
          <a:xfrm>
            <a:off x="3952853" y="1604665"/>
            <a:ext cx="4968172" cy="5101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835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685800" cy="685799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TextBox 2"/>
          <p:cNvSpPr txBox="1"/>
          <p:nvPr/>
        </p:nvSpPr>
        <p:spPr>
          <a:xfrm rot="16200000">
            <a:off x="-1115986" y="3198168"/>
            <a:ext cx="29177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of of Execution</a:t>
            </a:r>
          </a:p>
        </p:txBody>
      </p:sp>
      <p:sp>
        <p:nvSpPr>
          <p:cNvPr id="4" name="Rectangle 3"/>
          <p:cNvSpPr/>
          <p:nvPr/>
        </p:nvSpPr>
        <p:spPr>
          <a:xfrm>
            <a:off x="3253428" y="4736788"/>
            <a:ext cx="3048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Placeholder 5"/>
          <p:cNvSpPr txBox="1">
            <a:spLocks/>
          </p:cNvSpPr>
          <p:nvPr/>
        </p:nvSpPr>
        <p:spPr>
          <a:xfrm>
            <a:off x="1" y="120691"/>
            <a:ext cx="9144000" cy="870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1320" tIns="35661" rIns="71320" bIns="35661"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ing Documentation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17A33A45-D775-4505-843D-26573EE42D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5833"/>
          <a:stretch/>
        </p:blipFill>
        <p:spPr>
          <a:xfrm>
            <a:off x="1066800" y="1447800"/>
            <a:ext cx="76962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9899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685800" cy="685799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TextBox 2"/>
          <p:cNvSpPr txBox="1"/>
          <p:nvPr/>
        </p:nvSpPr>
        <p:spPr>
          <a:xfrm rot="16200000">
            <a:off x="-1115986" y="3198168"/>
            <a:ext cx="29177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of of Execution</a:t>
            </a:r>
          </a:p>
        </p:txBody>
      </p:sp>
      <p:sp>
        <p:nvSpPr>
          <p:cNvPr id="4" name="Rectangle 3"/>
          <p:cNvSpPr/>
          <p:nvPr/>
        </p:nvSpPr>
        <p:spPr>
          <a:xfrm>
            <a:off x="3253428" y="4736788"/>
            <a:ext cx="3048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Placeholder 5"/>
          <p:cNvSpPr txBox="1">
            <a:spLocks/>
          </p:cNvSpPr>
          <p:nvPr/>
        </p:nvSpPr>
        <p:spPr>
          <a:xfrm>
            <a:off x="1" y="120691"/>
            <a:ext cx="9144000" cy="870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1320" tIns="35661" rIns="71320" bIns="35661"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ing Documentation</a:t>
            </a:r>
          </a:p>
        </p:txBody>
      </p:sp>
      <p:pic>
        <p:nvPicPr>
          <p:cNvPr id="7" name="Imagem 6" descr="Grupo de pessoas sentadas ao redor de uma mesa de restaurante&#10;&#10;Descrição gerada automaticamente">
            <a:extLst>
              <a:ext uri="{FF2B5EF4-FFF2-40B4-BE49-F238E27FC236}">
                <a16:creationId xmlns:a16="http://schemas.microsoft.com/office/drawing/2014/main" id="{2537BCE3-4697-4C4C-8A2A-62CF18B134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416" y="1652578"/>
            <a:ext cx="7960967" cy="4475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7229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685800" cy="685799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TextBox 2"/>
          <p:cNvSpPr txBox="1"/>
          <p:nvPr/>
        </p:nvSpPr>
        <p:spPr>
          <a:xfrm rot="16200000">
            <a:off x="-1115986" y="3198168"/>
            <a:ext cx="29177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of of Execution</a:t>
            </a:r>
          </a:p>
        </p:txBody>
      </p:sp>
      <p:sp>
        <p:nvSpPr>
          <p:cNvPr id="4" name="Rectangle 3"/>
          <p:cNvSpPr/>
          <p:nvPr/>
        </p:nvSpPr>
        <p:spPr>
          <a:xfrm>
            <a:off x="3253428" y="4736788"/>
            <a:ext cx="3048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Placeholder 5"/>
          <p:cNvSpPr txBox="1">
            <a:spLocks/>
          </p:cNvSpPr>
          <p:nvPr/>
        </p:nvSpPr>
        <p:spPr>
          <a:xfrm>
            <a:off x="1" y="120691"/>
            <a:ext cx="9144000" cy="870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1320" tIns="35661" rIns="71320" bIns="35661"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ing Documentation</a:t>
            </a:r>
          </a:p>
        </p:txBody>
      </p:sp>
      <p:pic>
        <p:nvPicPr>
          <p:cNvPr id="6" name="Imagem 5" descr="Pessoas sentadas ao redor de uma mesa com cadeiras&#10;&#10;Descrição gerada automaticamente">
            <a:extLst>
              <a:ext uri="{FF2B5EF4-FFF2-40B4-BE49-F238E27FC236}">
                <a16:creationId xmlns:a16="http://schemas.microsoft.com/office/drawing/2014/main" id="{99806767-3DA5-4438-B8E3-F00955B224B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666"/>
          <a:stretch/>
        </p:blipFill>
        <p:spPr>
          <a:xfrm>
            <a:off x="918443" y="1424173"/>
            <a:ext cx="4445849" cy="5009097"/>
          </a:xfrm>
          <a:prstGeom prst="rect">
            <a:avLst/>
          </a:prstGeom>
        </p:spPr>
      </p:pic>
      <p:pic>
        <p:nvPicPr>
          <p:cNvPr id="10" name="Imagem 9" descr="Mesa com pratos de comida&#10;&#10;Descrição gerada automaticamente">
            <a:extLst>
              <a:ext uri="{FF2B5EF4-FFF2-40B4-BE49-F238E27FC236}">
                <a16:creationId xmlns:a16="http://schemas.microsoft.com/office/drawing/2014/main" id="{7EB5AB21-94C3-48FC-AA29-34BE88E2B43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00"/>
          <a:stretch/>
        </p:blipFill>
        <p:spPr>
          <a:xfrm>
            <a:off x="5715000" y="1424173"/>
            <a:ext cx="3130686" cy="5009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321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685800" cy="685799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 rot="16200000">
            <a:off x="-1602498" y="3229878"/>
            <a:ext cx="38908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of of Spend - Invoices</a:t>
            </a:r>
          </a:p>
        </p:txBody>
      </p:sp>
      <p:sp>
        <p:nvSpPr>
          <p:cNvPr id="17" name="Text Placeholder 5"/>
          <p:cNvSpPr txBox="1">
            <a:spLocks/>
          </p:cNvSpPr>
          <p:nvPr/>
        </p:nvSpPr>
        <p:spPr>
          <a:xfrm>
            <a:off x="0" y="152400"/>
            <a:ext cx="9144000" cy="877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1320" tIns="35661" rIns="71320" bIns="35661"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ing Documentation</a:t>
            </a: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3095837"/>
              </p:ext>
            </p:extLst>
          </p:nvPr>
        </p:nvGraphicFramePr>
        <p:xfrm>
          <a:off x="797873" y="1249680"/>
          <a:ext cx="8234053" cy="10109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0215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7392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7272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dor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voice#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ss Total Amount 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local currency including taxes)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voice Currency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e.g. MXN, BRL, COP, USD)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mount in USD (please convert as per Bloomberg exchange rate)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CA Viagens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376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30.750,00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L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D $ 7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500.00</a:t>
                      </a:r>
                      <a:endParaRPr lang="en-US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838200" y="987623"/>
            <a:ext cx="27331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ummary of Invoices &amp; Vendors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9F404BBF-8688-4395-AB88-C8387A20B6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33799" y="2395614"/>
            <a:ext cx="3619529" cy="4462386"/>
          </a:xfrm>
          <a:prstGeom prst="rect">
            <a:avLst/>
          </a:prstGeom>
        </p:spPr>
      </p:pic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C0B599AC-E1FD-45BA-B341-48DACDBCF83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35077110"/>
              </p:ext>
            </p:extLst>
          </p:nvPr>
        </p:nvGraphicFramePr>
        <p:xfrm>
          <a:off x="1838173" y="3871116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Acrobat Document" showAsIcon="1" r:id="rId5" imgW="914400" imgH="771480" progId="AcroExch.Document.DC">
                  <p:embed/>
                </p:oleObj>
              </mc:Choice>
              <mc:Fallback>
                <p:oleObj name="Acrobat Document" showAsIcon="1" r:id="rId5" imgW="914400" imgH="771480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38173" y="3871116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94411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685800" cy="685799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 rot="16200000">
            <a:off x="-1602498" y="3229878"/>
            <a:ext cx="38908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of of Spend - Invoices</a:t>
            </a:r>
          </a:p>
        </p:txBody>
      </p:sp>
      <p:sp>
        <p:nvSpPr>
          <p:cNvPr id="17" name="Text Placeholder 5"/>
          <p:cNvSpPr txBox="1">
            <a:spLocks/>
          </p:cNvSpPr>
          <p:nvPr/>
        </p:nvSpPr>
        <p:spPr>
          <a:xfrm>
            <a:off x="0" y="152400"/>
            <a:ext cx="9144000" cy="877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1320" tIns="35661" rIns="71320" bIns="35661"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ing Documentation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38200" y="987623"/>
            <a:ext cx="27331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ummary of Invoices &amp; Vendors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FDFFB9AE-D4DB-4117-AEE1-A5B64E5F72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6342" y="1358686"/>
            <a:ext cx="3328959" cy="490262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aphicFrame>
        <p:nvGraphicFramePr>
          <p:cNvPr id="7" name="Objeto 6">
            <a:extLst>
              <a:ext uri="{FF2B5EF4-FFF2-40B4-BE49-F238E27FC236}">
                <a16:creationId xmlns:a16="http://schemas.microsoft.com/office/drawing/2014/main" id="{9A7BC91A-E1E5-45FF-9CED-B38ADE40DD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47762554"/>
              </p:ext>
            </p:extLst>
          </p:nvPr>
        </p:nvGraphicFramePr>
        <p:xfrm>
          <a:off x="1981200" y="635793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Acrobat Document" showAsIcon="1" r:id="rId5" imgW="914570" imgH="771690" progId="AcroExch.Document.DC">
                  <p:embed/>
                </p:oleObj>
              </mc:Choice>
              <mc:Fallback>
                <p:oleObj name="Acrobat Document" showAsIcon="1" r:id="rId5" imgW="914570" imgH="771690" progId="AcroExch.Document.DC">
                  <p:embed/>
                  <p:pic>
                    <p:nvPicPr>
                      <p:cNvPr id="7" name="Objeto 6">
                        <a:extLst>
                          <a:ext uri="{FF2B5EF4-FFF2-40B4-BE49-F238E27FC236}">
                            <a16:creationId xmlns:a16="http://schemas.microsoft.com/office/drawing/2014/main" id="{9A7BC91A-E1E5-45FF-9CED-B38ADE40D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81200" y="635793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m 7">
            <a:extLst>
              <a:ext uri="{FF2B5EF4-FFF2-40B4-BE49-F238E27FC236}">
                <a16:creationId xmlns:a16="http://schemas.microsoft.com/office/drawing/2014/main" id="{A9D229C0-7F61-4490-9605-DE7F85C230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24276" y="1141511"/>
            <a:ext cx="4213430" cy="2686197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75F04AC4-8A09-4C16-B3FF-66C8DA33EC1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24275" y="3782702"/>
            <a:ext cx="4213429" cy="2699341"/>
          </a:xfrm>
          <a:prstGeom prst="rect">
            <a:avLst/>
          </a:prstGeom>
        </p:spPr>
      </p:pic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76117553-33E3-4120-8848-9E89D84E8DC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00087620"/>
              </p:ext>
            </p:extLst>
          </p:nvPr>
        </p:nvGraphicFramePr>
        <p:xfrm>
          <a:off x="5638800" y="6261313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Acrobat Document" showAsIcon="1" r:id="rId9" imgW="914400" imgH="771480" progId="AcroExch.Document.DC">
                  <p:embed/>
                </p:oleObj>
              </mc:Choice>
              <mc:Fallback>
                <p:oleObj name="Acrobat Document" showAsIcon="1" r:id="rId9" imgW="914400" imgH="771480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5638800" y="6261313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613815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FF29C2A51D10E4AB26F339DC3235E93" ma:contentTypeVersion="11" ma:contentTypeDescription="Create a new document." ma:contentTypeScope="" ma:versionID="99189e90d50ba7ecbcb334a03ee19d52">
  <xsd:schema xmlns:xsd="http://www.w3.org/2001/XMLSchema" xmlns:xs="http://www.w3.org/2001/XMLSchema" xmlns:p="http://schemas.microsoft.com/office/2006/metadata/properties" xmlns:ns3="c7c091c7-ac28-4c98-9531-4dbb61d2938c" xmlns:ns4="31265072-6847-42f0-9eba-9204167bb279" targetNamespace="http://schemas.microsoft.com/office/2006/metadata/properties" ma:root="true" ma:fieldsID="b32942ef03b6efd581067ab71b040bed" ns3:_="" ns4:_="">
    <xsd:import namespace="c7c091c7-ac28-4c98-9531-4dbb61d2938c"/>
    <xsd:import namespace="31265072-6847-42f0-9eba-9204167bb27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Loca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c091c7-ac28-4c98-9531-4dbb61d293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265072-6847-42f0-9eba-9204167bb27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D919C3F-E19F-4633-900D-2FB89F31B8B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EEE0040-6193-49F7-A36B-D9E1921907AF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FDC467E3-C070-4E81-96DC-325DF1038A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c091c7-ac28-4c98-9531-4dbb61d2938c"/>
    <ds:schemaRef ds:uri="31265072-6847-42f0-9eba-9204167bb27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434</TotalTime>
  <Words>378</Words>
  <Application>Microsoft Office PowerPoint</Application>
  <PresentationFormat>On-screen Show (4:3)</PresentationFormat>
  <Paragraphs>174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Calibri Light</vt:lpstr>
      <vt:lpstr>1_Office Theme</vt:lpstr>
      <vt:lpstr>think-cell Slide</vt:lpstr>
      <vt:lpstr>Adobe Acrobat Document</vt:lpstr>
      <vt:lpstr>Workshe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ell In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avarria, Gisela</dc:creator>
  <cp:keywords>No Restrictions</cp:keywords>
  <cp:lastModifiedBy>Lucero, Stephanie</cp:lastModifiedBy>
  <cp:revision>134</cp:revision>
  <dcterms:created xsi:type="dcterms:W3CDTF">2014-10-17T15:55:26Z</dcterms:created>
  <dcterms:modified xsi:type="dcterms:W3CDTF">2019-12-20T11:17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c25d06a7-1f68-4d72-a069-72a39708cd29</vt:lpwstr>
  </property>
  <property fmtid="{D5CDD505-2E9C-101B-9397-08002B2CF9AE}" pid="3" name="Document Creator">
    <vt:lpwstr/>
  </property>
  <property fmtid="{D5CDD505-2E9C-101B-9397-08002B2CF9AE}" pid="4" name="Document Editor">
    <vt:lpwstr/>
  </property>
  <property fmtid="{D5CDD505-2E9C-101B-9397-08002B2CF9AE}" pid="5" name="DellClassification">
    <vt:lpwstr>No Restrictions</vt:lpwstr>
  </property>
  <property fmtid="{D5CDD505-2E9C-101B-9397-08002B2CF9AE}" pid="6" name="DellSubLabels">
    <vt:lpwstr/>
  </property>
  <property fmtid="{D5CDD505-2E9C-101B-9397-08002B2CF9AE}" pid="7" name="Classification">
    <vt:lpwstr>No Restrictions</vt:lpwstr>
  </property>
  <property fmtid="{D5CDD505-2E9C-101B-9397-08002B2CF9AE}" pid="8" name="Sublabels">
    <vt:lpwstr/>
  </property>
  <property fmtid="{D5CDD505-2E9C-101B-9397-08002B2CF9AE}" pid="9" name="MSIP_Label_7de70ee2-0cb4-4d60-aee5-75ef2c4c8a90_Enabled">
    <vt:lpwstr>True</vt:lpwstr>
  </property>
  <property fmtid="{D5CDD505-2E9C-101B-9397-08002B2CF9AE}" pid="10" name="MSIP_Label_7de70ee2-0cb4-4d60-aee5-75ef2c4c8a90_SiteId">
    <vt:lpwstr>945c199a-83a2-4e80-9f8c-5a91be5752dd</vt:lpwstr>
  </property>
  <property fmtid="{D5CDD505-2E9C-101B-9397-08002B2CF9AE}" pid="11" name="MSIP_Label_7de70ee2-0cb4-4d60-aee5-75ef2c4c8a90_Owner">
    <vt:lpwstr>Hamza_El_Kharaz_Laro@DELL.com</vt:lpwstr>
  </property>
  <property fmtid="{D5CDD505-2E9C-101B-9397-08002B2CF9AE}" pid="12" name="MSIP_Label_7de70ee2-0cb4-4d60-aee5-75ef2c4c8a90_SetDate">
    <vt:lpwstr>2019-06-04T00:44:47.6132187Z</vt:lpwstr>
  </property>
  <property fmtid="{D5CDD505-2E9C-101B-9397-08002B2CF9AE}" pid="13" name="MSIP_Label_7de70ee2-0cb4-4d60-aee5-75ef2c4c8a90_Name">
    <vt:lpwstr>Internal Use</vt:lpwstr>
  </property>
  <property fmtid="{D5CDD505-2E9C-101B-9397-08002B2CF9AE}" pid="14" name="MSIP_Label_7de70ee2-0cb4-4d60-aee5-75ef2c4c8a90_Application">
    <vt:lpwstr>Microsoft Azure Information Protection</vt:lpwstr>
  </property>
  <property fmtid="{D5CDD505-2E9C-101B-9397-08002B2CF9AE}" pid="15" name="MSIP_Label_7de70ee2-0cb4-4d60-aee5-75ef2c4c8a90_Extended_MSFT_Method">
    <vt:lpwstr>Manual</vt:lpwstr>
  </property>
  <property fmtid="{D5CDD505-2E9C-101B-9397-08002B2CF9AE}" pid="16" name="MSIP_Label_da6fab74-d5af-4af7-a9a4-78d84655a626_Enabled">
    <vt:lpwstr>True</vt:lpwstr>
  </property>
  <property fmtid="{D5CDD505-2E9C-101B-9397-08002B2CF9AE}" pid="17" name="MSIP_Label_da6fab74-d5af-4af7-a9a4-78d84655a626_SiteId">
    <vt:lpwstr>945c199a-83a2-4e80-9f8c-5a91be5752dd</vt:lpwstr>
  </property>
  <property fmtid="{D5CDD505-2E9C-101B-9397-08002B2CF9AE}" pid="18" name="MSIP_Label_da6fab74-d5af-4af7-a9a4-78d84655a626_Owner">
    <vt:lpwstr>Hamza_El_Kharaz_Laro@DELL.com</vt:lpwstr>
  </property>
  <property fmtid="{D5CDD505-2E9C-101B-9397-08002B2CF9AE}" pid="19" name="MSIP_Label_da6fab74-d5af-4af7-a9a4-78d84655a626_SetDate">
    <vt:lpwstr>2019-06-04T00:44:47.6132187Z</vt:lpwstr>
  </property>
  <property fmtid="{D5CDD505-2E9C-101B-9397-08002B2CF9AE}" pid="20" name="MSIP_Label_da6fab74-d5af-4af7-a9a4-78d84655a626_Name">
    <vt:lpwstr>Visual Marking</vt:lpwstr>
  </property>
  <property fmtid="{D5CDD505-2E9C-101B-9397-08002B2CF9AE}" pid="21" name="MSIP_Label_da6fab74-d5af-4af7-a9a4-78d84655a626_Application">
    <vt:lpwstr>Microsoft Azure Information Protection</vt:lpwstr>
  </property>
  <property fmtid="{D5CDD505-2E9C-101B-9397-08002B2CF9AE}" pid="22" name="MSIP_Label_da6fab74-d5af-4af7-a9a4-78d84655a626_Parent">
    <vt:lpwstr>7de70ee2-0cb4-4d60-aee5-75ef2c4c8a90</vt:lpwstr>
  </property>
  <property fmtid="{D5CDD505-2E9C-101B-9397-08002B2CF9AE}" pid="23" name="MSIP_Label_da6fab74-d5af-4af7-a9a4-78d84655a626_Extended_MSFT_Method">
    <vt:lpwstr>Manual</vt:lpwstr>
  </property>
  <property fmtid="{D5CDD505-2E9C-101B-9397-08002B2CF9AE}" pid="24" name="aiplabel">
    <vt:lpwstr>Internal Use Visual Marking</vt:lpwstr>
  </property>
  <property fmtid="{D5CDD505-2E9C-101B-9397-08002B2CF9AE}" pid="25" name="ContentTypeId">
    <vt:lpwstr>0x0101001FF29C2A51D10E4AB26F339DC3235E93</vt:lpwstr>
  </property>
</Properties>
</file>